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9"/>
  </p:notesMasterIdLst>
  <p:handoutMasterIdLst>
    <p:handoutMasterId r:id="rId20"/>
  </p:handoutMasterIdLst>
  <p:sldIdLst>
    <p:sldId id="335" r:id="rId2"/>
    <p:sldId id="343" r:id="rId3"/>
    <p:sldId id="344" r:id="rId4"/>
    <p:sldId id="301" r:id="rId5"/>
    <p:sldId id="302" r:id="rId6"/>
    <p:sldId id="305" r:id="rId7"/>
    <p:sldId id="338" r:id="rId8"/>
    <p:sldId id="345" r:id="rId9"/>
    <p:sldId id="304" r:id="rId10"/>
    <p:sldId id="306" r:id="rId11"/>
    <p:sldId id="346" r:id="rId12"/>
    <p:sldId id="340" r:id="rId13"/>
    <p:sldId id="349" r:id="rId14"/>
    <p:sldId id="348" r:id="rId15"/>
    <p:sldId id="350" r:id="rId16"/>
    <p:sldId id="316" r:id="rId17"/>
    <p:sldId id="339" r:id="rId18"/>
  </p:sldIdLst>
  <p:sldSz cx="12192000" cy="6858000"/>
  <p:notesSz cx="6858000" cy="9144000"/>
  <p:custDataLst>
    <p:tags r:id="rId2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62" userDrawn="1">
          <p15:clr>
            <a:srgbClr val="A4A3A4"/>
          </p15:clr>
        </p15:guide>
        <p15:guide id="2" pos="438" userDrawn="1">
          <p15:clr>
            <a:srgbClr val="A4A3A4"/>
          </p15:clr>
        </p15:guide>
        <p15:guide id="3" pos="3772" userDrawn="1">
          <p15:clr>
            <a:srgbClr val="A4A3A4"/>
          </p15:clr>
        </p15:guide>
        <p15:guide id="4" pos="4135" userDrawn="1">
          <p15:clr>
            <a:srgbClr val="A4A3A4"/>
          </p15:clr>
        </p15:guide>
        <p15:guide id="6" orient="horz" pos="3770" userDrawn="1">
          <p15:clr>
            <a:srgbClr val="A4A3A4"/>
          </p15:clr>
        </p15:guide>
        <p15:guide id="7" pos="746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084" autoAdjust="0"/>
    <p:restoredTop sz="94660"/>
  </p:normalViewPr>
  <p:slideViewPr>
    <p:cSldViewPr showGuides="1">
      <p:cViewPr varScale="1">
        <p:scale>
          <a:sx n="82" d="100"/>
          <a:sy n="82" d="100"/>
        </p:scale>
        <p:origin x="946" y="77"/>
      </p:cViewPr>
      <p:guideLst>
        <p:guide orient="horz" pos="1162"/>
        <p:guide pos="438"/>
        <p:guide pos="3772"/>
        <p:guide pos="4135"/>
        <p:guide orient="horz" pos="3770"/>
        <p:guide pos="746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howGuides="1">
      <p:cViewPr varScale="1">
        <p:scale>
          <a:sx n="80" d="100"/>
          <a:sy n="80" d="100"/>
        </p:scale>
        <p:origin x="3918" y="102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7A43F64-B908-47CE-B77C-7EE5A4F9D39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793750" y="8604934"/>
            <a:ext cx="5594288" cy="16158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1200"/>
            </a:lvl1pPr>
          </a:lstStyle>
          <a:p>
            <a:endParaRPr lang="de-DE" sz="105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B4833C8-AF2D-40E4-B652-F49637A60A5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57199" y="8601417"/>
            <a:ext cx="273051" cy="16158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200"/>
            </a:lvl1pPr>
          </a:lstStyle>
          <a:p>
            <a:fld id="{0C428828-2AD1-4A5A-B381-CFE9A43FB237}" type="slidenum">
              <a:rPr lang="de-DE" sz="1050" b="1" smtClean="0"/>
              <a:t>‹Nr.›</a:t>
            </a:fld>
            <a:endParaRPr lang="de-DE" sz="1050" b="1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999A5C7B-7EA7-4B28-BD44-D49B13872C4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38541" y="221456"/>
            <a:ext cx="849497" cy="553244"/>
          </a:xfrm>
          <a:prstGeom prst="rect">
            <a:avLst/>
          </a:prstGeom>
        </p:spPr>
      </p:pic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D88585E5-925E-442D-9B9E-55D9332D67F2}"/>
              </a:ext>
            </a:extLst>
          </p:cNvPr>
          <p:cNvCxnSpPr>
            <a:cxnSpLocks/>
          </p:cNvCxnSpPr>
          <p:nvPr/>
        </p:nvCxnSpPr>
        <p:spPr>
          <a:xfrm>
            <a:off x="457199" y="8477250"/>
            <a:ext cx="594360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06172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004888" y="8606176"/>
            <a:ext cx="5167312" cy="161583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b">
            <a:spAutoFit/>
          </a:bodyPr>
          <a:lstStyle>
            <a:lvl1pPr algn="l">
              <a:defRPr sz="105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685800" y="8606176"/>
            <a:ext cx="284163" cy="161583"/>
          </a:xfrm>
          <a:prstGeom prst="rect">
            <a:avLst/>
          </a:prstGeom>
          <a:ln>
            <a:noFill/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square" lIns="0" tIns="0" rIns="0" bIns="0" rtlCol="0" anchor="b">
            <a:spAutoFit/>
          </a:bodyPr>
          <a:lstStyle>
            <a:lvl1pPr algn="r">
              <a:defRPr sz="1050" b="1"/>
            </a:lvl1pPr>
          </a:lstStyle>
          <a:p>
            <a:fld id="{D8367755-7C75-43EE-9EC8-D865AC6479A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282567E6-F45F-443A-BEE9-63DF0262C19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22703" y="221456"/>
            <a:ext cx="849497" cy="553244"/>
          </a:xfrm>
          <a:prstGeom prst="rect">
            <a:avLst/>
          </a:prstGeom>
        </p:spPr>
      </p:pic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07CF42C9-EAB1-4C58-897E-710D36AA3CA6}"/>
              </a:ext>
            </a:extLst>
          </p:cNvPr>
          <p:cNvCxnSpPr>
            <a:cxnSpLocks/>
          </p:cNvCxnSpPr>
          <p:nvPr/>
        </p:nvCxnSpPr>
        <p:spPr>
          <a:xfrm>
            <a:off x="685800" y="8477250"/>
            <a:ext cx="54864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66574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400" rtl="0" eaLnBrk="1" latinLnBrk="0" hangingPunct="1">
      <a:buClr>
        <a:schemeClr val="tx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400" rtl="0" eaLnBrk="1" latinLnBrk="0" hangingPunct="1">
      <a:buClr>
        <a:schemeClr val="tx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400" rtl="0" eaLnBrk="1" latinLnBrk="0" hangingPunct="1">
      <a:buClr>
        <a:schemeClr val="tx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400" rtl="0" eaLnBrk="1" latinLnBrk="0" hangingPunct="1">
      <a:buClr>
        <a:schemeClr val="tx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image" Target="../media/image6.pn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5.pn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image" Target="../media/image6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6.pn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ihandform 11">
            <a:extLst>
              <a:ext uri="{FF2B5EF4-FFF2-40B4-BE49-F238E27FC236}">
                <a16:creationId xmlns:a16="http://schemas.microsoft.com/office/drawing/2014/main" id="{345B8CC5-06C1-472D-9579-229E85ACF8E4}"/>
              </a:ext>
            </a:extLst>
          </p:cNvPr>
          <p:cNvSpPr/>
          <p:nvPr userDrawn="1"/>
        </p:nvSpPr>
        <p:spPr bwMode="gray">
          <a:xfrm>
            <a:off x="144780" y="-7619"/>
            <a:ext cx="9357360" cy="4076700"/>
          </a:xfrm>
          <a:custGeom>
            <a:avLst/>
            <a:gdLst>
              <a:gd name="connsiteX0" fmla="*/ 0 w 7018020"/>
              <a:gd name="connsiteY0" fmla="*/ 0 h 3057525"/>
              <a:gd name="connsiteX1" fmla="*/ 714375 w 7018020"/>
              <a:gd name="connsiteY1" fmla="*/ 3057525 h 3057525"/>
              <a:gd name="connsiteX2" fmla="*/ 7018020 w 7018020"/>
              <a:gd name="connsiteY2" fmla="*/ 1600200 h 3057525"/>
              <a:gd name="connsiteX3" fmla="*/ 6652260 w 7018020"/>
              <a:gd name="connsiteY3" fmla="*/ 5715 h 3057525"/>
              <a:gd name="connsiteX4" fmla="*/ 0 w 7018020"/>
              <a:gd name="connsiteY4" fmla="*/ 0 h 3057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18020" h="3057525">
                <a:moveTo>
                  <a:pt x="0" y="0"/>
                </a:moveTo>
                <a:lnTo>
                  <a:pt x="714375" y="3057525"/>
                </a:lnTo>
                <a:lnTo>
                  <a:pt x="7018020" y="1600200"/>
                </a:lnTo>
                <a:lnTo>
                  <a:pt x="6652260" y="5715"/>
                </a:lnTo>
                <a:lnTo>
                  <a:pt x="0" y="0"/>
                </a:lnTo>
                <a:close/>
              </a:path>
            </a:pathLst>
          </a:custGeom>
          <a:solidFill>
            <a:srgbClr val="FF8C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C178B517-5906-4BB1-B0FC-C8DC054AAF36}"/>
              </a:ext>
            </a:extLst>
          </p:cNvPr>
          <p:cNvSpPr/>
          <p:nvPr userDrawn="1"/>
        </p:nvSpPr>
        <p:spPr bwMode="gray">
          <a:xfrm>
            <a:off x="-5" y="0"/>
            <a:ext cx="8640445" cy="3217547"/>
          </a:xfrm>
          <a:prstGeom prst="rect">
            <a:avLst/>
          </a:prstGeom>
          <a:solidFill>
            <a:srgbClr val="FF8C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4EFD84D-7620-4378-B33F-72E1F06AAE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2619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4EFD84D-7620-4378-B33F-72E1F06AA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F6FBC020-F7BC-491F-A515-7633C9383B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8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31996BA-DEBA-4422-8751-889EF72798A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960000" y="1345624"/>
            <a:ext cx="7416000" cy="526298"/>
          </a:xfrm>
        </p:spPr>
        <p:txBody>
          <a:bodyPr anchor="ctr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9DAC5A5B-2679-4974-BA5D-19265FF288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0000" y="5079957"/>
            <a:ext cx="4356000" cy="307777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2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buNone/>
              <a:defRPr sz="22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buNone/>
              <a:defRPr sz="22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buNone/>
              <a:defRPr sz="22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Kolpingsfamilie Beispielhausen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E94ABF0D-D15C-4EE3-B3EB-0D61FAD821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960000" y="5432738"/>
            <a:ext cx="4356000" cy="307777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20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2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buNone/>
              <a:defRPr sz="22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buNone/>
              <a:defRPr sz="22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buNone/>
              <a:defRPr sz="2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T. Monat 20XX</a:t>
            </a:r>
          </a:p>
        </p:txBody>
      </p:sp>
      <p:sp>
        <p:nvSpPr>
          <p:cNvPr id="14" name="Textplatzhalter 10">
            <a:extLst>
              <a:ext uri="{FF2B5EF4-FFF2-40B4-BE49-F238E27FC236}">
                <a16:creationId xmlns:a16="http://schemas.microsoft.com/office/drawing/2014/main" id="{51848211-9774-4D0C-9DA2-0F501977F52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960000" y="5785519"/>
            <a:ext cx="4356000" cy="307777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20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2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buNone/>
              <a:defRPr sz="22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buNone/>
              <a:defRPr sz="22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buNone/>
              <a:defRPr sz="2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Name, Funktion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78A93654-10BB-4A8A-A13A-AE02708FB69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9831968" y="5045190"/>
            <a:ext cx="1664632" cy="1084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76613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0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Grafik 25">
            <a:extLst>
              <a:ext uri="{FF2B5EF4-FFF2-40B4-BE49-F238E27FC236}">
                <a16:creationId xmlns:a16="http://schemas.microsoft.com/office/drawing/2014/main" id="{F3CC6844-B310-462B-8936-62A1EE8FD3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68" t="14928" r="50466" b="57078"/>
          <a:stretch/>
        </p:blipFill>
        <p:spPr bwMode="gray">
          <a:xfrm rot="10800000">
            <a:off x="-8" y="1"/>
            <a:ext cx="12206519" cy="6317999"/>
          </a:xfrm>
          <a:prstGeom prst="rect">
            <a:avLst/>
          </a:prstGeom>
        </p:spPr>
      </p:pic>
      <p:sp>
        <p:nvSpPr>
          <p:cNvPr id="28" name="Freihandform 22">
            <a:extLst>
              <a:ext uri="{FF2B5EF4-FFF2-40B4-BE49-F238E27FC236}">
                <a16:creationId xmlns:a16="http://schemas.microsoft.com/office/drawing/2014/main" id="{33517879-5B85-40F6-B10A-ACCECB5A067D}"/>
              </a:ext>
            </a:extLst>
          </p:cNvPr>
          <p:cNvSpPr/>
          <p:nvPr userDrawn="1"/>
        </p:nvSpPr>
        <p:spPr bwMode="gray">
          <a:xfrm>
            <a:off x="5868278" y="0"/>
            <a:ext cx="6338237" cy="6858000"/>
          </a:xfrm>
          <a:custGeom>
            <a:avLst/>
            <a:gdLst>
              <a:gd name="connsiteX0" fmla="*/ 0 w 4778829"/>
              <a:gd name="connsiteY0" fmla="*/ 0 h 5170714"/>
              <a:gd name="connsiteX1" fmla="*/ 4778829 w 4778829"/>
              <a:gd name="connsiteY1" fmla="*/ 0 h 5170714"/>
              <a:gd name="connsiteX2" fmla="*/ 4778829 w 4778829"/>
              <a:gd name="connsiteY2" fmla="*/ 5170714 h 5170714"/>
              <a:gd name="connsiteX3" fmla="*/ 1175657 w 4778829"/>
              <a:gd name="connsiteY3" fmla="*/ 5170714 h 5170714"/>
              <a:gd name="connsiteX4" fmla="*/ 0 w 4778829"/>
              <a:gd name="connsiteY4" fmla="*/ 0 h 5170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78829" h="5170714">
                <a:moveTo>
                  <a:pt x="0" y="0"/>
                </a:moveTo>
                <a:lnTo>
                  <a:pt x="4778829" y="0"/>
                </a:lnTo>
                <a:lnTo>
                  <a:pt x="4778829" y="5170714"/>
                </a:lnTo>
                <a:lnTo>
                  <a:pt x="1175657" y="5170714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17144C21-5DBC-4E9A-8365-3B68F68E146D}"/>
              </a:ext>
            </a:extLst>
          </p:cNvPr>
          <p:cNvSpPr/>
          <p:nvPr userDrawn="1"/>
        </p:nvSpPr>
        <p:spPr bwMode="gray">
          <a:xfrm>
            <a:off x="4896000" y="719983"/>
            <a:ext cx="4320003" cy="4320003"/>
          </a:xfrm>
          <a:prstGeom prst="rect">
            <a:avLst/>
          </a:prstGeom>
          <a:solidFill>
            <a:srgbClr val="FF8C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240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D465AF7-5505-4EB6-B212-0A1089202E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78254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ED465AF7-5505-4EB6-B212-0A1089202E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A9F9EF0D-C34A-427A-819C-F098A1F2978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E7D9AA52-BA42-4454-B84E-DB138FB64C25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8" y="6317458"/>
            <a:ext cx="1185536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5FF3E4E-F4C8-4A6B-AE7F-4DEE7CBD991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2FB2555-2ED1-412A-8C6E-07B8187F63A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4" name="Bildplatzhalter 7">
            <a:extLst>
              <a:ext uri="{FF2B5EF4-FFF2-40B4-BE49-F238E27FC236}">
                <a16:creationId xmlns:a16="http://schemas.microsoft.com/office/drawing/2014/main" id="{FB978D4F-CB03-4B41-A9B4-5E369C68D7F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576000" y="719981"/>
            <a:ext cx="4320000" cy="4320000"/>
          </a:xfrm>
          <a:solidFill>
            <a:schemeClr val="bg1"/>
          </a:solidFill>
          <a:ln w="12700">
            <a:noFill/>
          </a:ln>
        </p:spPr>
        <p:txBody>
          <a:bodyPr/>
          <a:lstStyle>
            <a:lvl1pPr>
              <a:lnSpc>
                <a:spcPct val="100000"/>
              </a:lnSpc>
              <a:defRPr sz="1800" b="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pic>
        <p:nvPicPr>
          <p:cNvPr id="35" name="Grafik 34">
            <a:extLst>
              <a:ext uri="{FF2B5EF4-FFF2-40B4-BE49-F238E27FC236}">
                <a16:creationId xmlns:a16="http://schemas.microsoft.com/office/drawing/2014/main" id="{A00D198C-4D90-44B9-8AA7-73EA263AEEA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10855382" y="327932"/>
            <a:ext cx="1017525" cy="662674"/>
          </a:xfrm>
          <a:prstGeom prst="rect">
            <a:avLst/>
          </a:prstGeom>
        </p:spPr>
      </p:pic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933BEFB6-1239-4DAA-99F4-D7410912A19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463464" y="287446"/>
            <a:ext cx="5185077" cy="5185077"/>
          </a:xfrm>
          <a:custGeom>
            <a:avLst/>
            <a:gdLst>
              <a:gd name="connsiteX0" fmla="*/ 977002 w 5185077"/>
              <a:gd name="connsiteY0" fmla="*/ 0 h 5185077"/>
              <a:gd name="connsiteX1" fmla="*/ 5185077 w 5185077"/>
              <a:gd name="connsiteY1" fmla="*/ 977002 h 5185077"/>
              <a:gd name="connsiteX2" fmla="*/ 4208075 w 5185077"/>
              <a:gd name="connsiteY2" fmla="*/ 5185077 h 5185077"/>
              <a:gd name="connsiteX3" fmla="*/ 0 w 5185077"/>
              <a:gd name="connsiteY3" fmla="*/ 4208075 h 51850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85077" h="5185077">
                <a:moveTo>
                  <a:pt x="977002" y="0"/>
                </a:moveTo>
                <a:lnTo>
                  <a:pt x="5185077" y="977002"/>
                </a:lnTo>
                <a:lnTo>
                  <a:pt x="4208075" y="5185077"/>
                </a:lnTo>
                <a:lnTo>
                  <a:pt x="0" y="4208075"/>
                </a:lnTo>
                <a:close/>
              </a:path>
            </a:pathLst>
          </a:custGeom>
          <a:solidFill>
            <a:srgbClr val="FF8C00">
              <a:alpha val="80000"/>
            </a:srgbClr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7BC4711-D31B-4CAE-A132-6C8DC6A678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328001" y="2207781"/>
            <a:ext cx="3600000" cy="1344407"/>
          </a:xfrm>
        </p:spPr>
        <p:txBody>
          <a:bodyPr anchor="ctr">
            <a:spAutoFit/>
          </a:bodyPr>
          <a:lstStyle>
            <a:lvl1pPr>
              <a:lnSpc>
                <a:spcPct val="91000"/>
              </a:lnSpc>
              <a:defRPr sz="3200" spc="-4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Kapitelüberschrif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4059104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folie 03 mit Num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544ECB68-0FF7-4DFF-B3C7-8327A7D40E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53" t="24927" r="58695" b="47079"/>
          <a:stretch/>
        </p:blipFill>
        <p:spPr bwMode="gray">
          <a:xfrm rot="10800000">
            <a:off x="-5" y="-1"/>
            <a:ext cx="12087924" cy="6317997"/>
          </a:xfrm>
          <a:prstGeom prst="rect">
            <a:avLst/>
          </a:prstGeom>
        </p:spPr>
      </p:pic>
      <p:sp>
        <p:nvSpPr>
          <p:cNvPr id="15" name="Freihandform 22">
            <a:extLst>
              <a:ext uri="{FF2B5EF4-FFF2-40B4-BE49-F238E27FC236}">
                <a16:creationId xmlns:a16="http://schemas.microsoft.com/office/drawing/2014/main" id="{E23044D8-2C6A-49D6-8BAE-ACD3ED6438DC}"/>
              </a:ext>
            </a:extLst>
          </p:cNvPr>
          <p:cNvSpPr/>
          <p:nvPr userDrawn="1"/>
        </p:nvSpPr>
        <p:spPr bwMode="gray">
          <a:xfrm>
            <a:off x="9397401" y="0"/>
            <a:ext cx="2819335" cy="6858000"/>
          </a:xfrm>
          <a:custGeom>
            <a:avLst/>
            <a:gdLst>
              <a:gd name="connsiteX0" fmla="*/ 0 w 4778829"/>
              <a:gd name="connsiteY0" fmla="*/ 0 h 5170714"/>
              <a:gd name="connsiteX1" fmla="*/ 4778829 w 4778829"/>
              <a:gd name="connsiteY1" fmla="*/ 0 h 5170714"/>
              <a:gd name="connsiteX2" fmla="*/ 4778829 w 4778829"/>
              <a:gd name="connsiteY2" fmla="*/ 5170714 h 5170714"/>
              <a:gd name="connsiteX3" fmla="*/ 1175657 w 4778829"/>
              <a:gd name="connsiteY3" fmla="*/ 5170714 h 5170714"/>
              <a:gd name="connsiteX4" fmla="*/ 0 w 4778829"/>
              <a:gd name="connsiteY4" fmla="*/ 0 h 5170714"/>
              <a:gd name="connsiteX0" fmla="*/ 0 w 4778829"/>
              <a:gd name="connsiteY0" fmla="*/ 0 h 5170714"/>
              <a:gd name="connsiteX1" fmla="*/ 2973578 w 4778829"/>
              <a:gd name="connsiteY1" fmla="*/ 420856 h 5170714"/>
              <a:gd name="connsiteX2" fmla="*/ 4778829 w 4778829"/>
              <a:gd name="connsiteY2" fmla="*/ 5170714 h 5170714"/>
              <a:gd name="connsiteX3" fmla="*/ 1175657 w 4778829"/>
              <a:gd name="connsiteY3" fmla="*/ 5170714 h 5170714"/>
              <a:gd name="connsiteX4" fmla="*/ 0 w 4778829"/>
              <a:gd name="connsiteY4" fmla="*/ 0 h 5170714"/>
              <a:gd name="connsiteX0" fmla="*/ 0 w 4778829"/>
              <a:gd name="connsiteY0" fmla="*/ 0 h 5170714"/>
              <a:gd name="connsiteX1" fmla="*/ 2076491 w 4778829"/>
              <a:gd name="connsiteY1" fmla="*/ 0 h 5170714"/>
              <a:gd name="connsiteX2" fmla="*/ 4778829 w 4778829"/>
              <a:gd name="connsiteY2" fmla="*/ 5170714 h 5170714"/>
              <a:gd name="connsiteX3" fmla="*/ 1175657 w 4778829"/>
              <a:gd name="connsiteY3" fmla="*/ 5170714 h 5170714"/>
              <a:gd name="connsiteX4" fmla="*/ 0 w 4778829"/>
              <a:gd name="connsiteY4" fmla="*/ 0 h 5170714"/>
              <a:gd name="connsiteX0" fmla="*/ 0 w 2076491"/>
              <a:gd name="connsiteY0" fmla="*/ 0 h 5170714"/>
              <a:gd name="connsiteX1" fmla="*/ 2076491 w 2076491"/>
              <a:gd name="connsiteY1" fmla="*/ 0 h 5170714"/>
              <a:gd name="connsiteX2" fmla="*/ 2043266 w 2076491"/>
              <a:gd name="connsiteY2" fmla="*/ 5026737 h 5170714"/>
              <a:gd name="connsiteX3" fmla="*/ 1175657 w 2076491"/>
              <a:gd name="connsiteY3" fmla="*/ 5170714 h 5170714"/>
              <a:gd name="connsiteX4" fmla="*/ 0 w 2076491"/>
              <a:gd name="connsiteY4" fmla="*/ 0 h 5170714"/>
              <a:gd name="connsiteX0" fmla="*/ 0 w 2120792"/>
              <a:gd name="connsiteY0" fmla="*/ 0 h 5181789"/>
              <a:gd name="connsiteX1" fmla="*/ 2076491 w 2120792"/>
              <a:gd name="connsiteY1" fmla="*/ 0 h 5181789"/>
              <a:gd name="connsiteX2" fmla="*/ 2120792 w 2120792"/>
              <a:gd name="connsiteY2" fmla="*/ 5181789 h 5181789"/>
              <a:gd name="connsiteX3" fmla="*/ 1175657 w 2120792"/>
              <a:gd name="connsiteY3" fmla="*/ 5170714 h 5181789"/>
              <a:gd name="connsiteX4" fmla="*/ 0 w 2120792"/>
              <a:gd name="connsiteY4" fmla="*/ 0 h 5181789"/>
              <a:gd name="connsiteX0" fmla="*/ 0 w 2120792"/>
              <a:gd name="connsiteY0" fmla="*/ 0 h 5181789"/>
              <a:gd name="connsiteX1" fmla="*/ 2109717 w 2120792"/>
              <a:gd name="connsiteY1" fmla="*/ 11075 h 5181789"/>
              <a:gd name="connsiteX2" fmla="*/ 2120792 w 2120792"/>
              <a:gd name="connsiteY2" fmla="*/ 5181789 h 5181789"/>
              <a:gd name="connsiteX3" fmla="*/ 1175657 w 2120792"/>
              <a:gd name="connsiteY3" fmla="*/ 5170714 h 5181789"/>
              <a:gd name="connsiteX4" fmla="*/ 0 w 2120792"/>
              <a:gd name="connsiteY4" fmla="*/ 0 h 5181789"/>
              <a:gd name="connsiteX0" fmla="*/ 0 w 2121857"/>
              <a:gd name="connsiteY0" fmla="*/ 0 h 5181789"/>
              <a:gd name="connsiteX1" fmla="*/ 2120792 w 2121857"/>
              <a:gd name="connsiteY1" fmla="*/ 0 h 5181789"/>
              <a:gd name="connsiteX2" fmla="*/ 2120792 w 2121857"/>
              <a:gd name="connsiteY2" fmla="*/ 5181789 h 5181789"/>
              <a:gd name="connsiteX3" fmla="*/ 1175657 w 2121857"/>
              <a:gd name="connsiteY3" fmla="*/ 5170714 h 5181789"/>
              <a:gd name="connsiteX4" fmla="*/ 0 w 2121857"/>
              <a:gd name="connsiteY4" fmla="*/ 0 h 5181789"/>
              <a:gd name="connsiteX0" fmla="*/ 0 w 2120912"/>
              <a:gd name="connsiteY0" fmla="*/ 0 h 5170714"/>
              <a:gd name="connsiteX1" fmla="*/ 2120792 w 2120912"/>
              <a:gd name="connsiteY1" fmla="*/ 0 h 5170714"/>
              <a:gd name="connsiteX2" fmla="*/ 2045922 w 2120912"/>
              <a:gd name="connsiteY2" fmla="*/ 5119398 h 5170714"/>
              <a:gd name="connsiteX3" fmla="*/ 1175657 w 2120912"/>
              <a:gd name="connsiteY3" fmla="*/ 5170714 h 5170714"/>
              <a:gd name="connsiteX4" fmla="*/ 0 w 2120912"/>
              <a:gd name="connsiteY4" fmla="*/ 0 h 5170714"/>
              <a:gd name="connsiteX0" fmla="*/ 0 w 2121251"/>
              <a:gd name="connsiteY0" fmla="*/ 0 h 5173471"/>
              <a:gd name="connsiteX1" fmla="*/ 2120792 w 2121251"/>
              <a:gd name="connsiteY1" fmla="*/ 0 h 5173471"/>
              <a:gd name="connsiteX2" fmla="*/ 2108314 w 2121251"/>
              <a:gd name="connsiteY2" fmla="*/ 5173471 h 5173471"/>
              <a:gd name="connsiteX3" fmla="*/ 1175657 w 2121251"/>
              <a:gd name="connsiteY3" fmla="*/ 5170714 h 5173471"/>
              <a:gd name="connsiteX4" fmla="*/ 0 w 2121251"/>
              <a:gd name="connsiteY4" fmla="*/ 0 h 5173471"/>
              <a:gd name="connsiteX0" fmla="*/ 0 w 2121358"/>
              <a:gd name="connsiteY0" fmla="*/ 0 h 5173471"/>
              <a:gd name="connsiteX1" fmla="*/ 2120792 w 2121358"/>
              <a:gd name="connsiteY1" fmla="*/ 0 h 5173471"/>
              <a:gd name="connsiteX2" fmla="*/ 2112473 w 2121358"/>
              <a:gd name="connsiteY2" fmla="*/ 5173471 h 5173471"/>
              <a:gd name="connsiteX3" fmla="*/ 1175657 w 2121358"/>
              <a:gd name="connsiteY3" fmla="*/ 5170714 h 5173471"/>
              <a:gd name="connsiteX4" fmla="*/ 0 w 2121358"/>
              <a:gd name="connsiteY4" fmla="*/ 0 h 5173471"/>
              <a:gd name="connsiteX0" fmla="*/ 0 w 2121857"/>
              <a:gd name="connsiteY0" fmla="*/ 0 h 5170714"/>
              <a:gd name="connsiteX1" fmla="*/ 2120792 w 2121857"/>
              <a:gd name="connsiteY1" fmla="*/ 0 h 5170714"/>
              <a:gd name="connsiteX2" fmla="*/ 2120792 w 2121857"/>
              <a:gd name="connsiteY2" fmla="*/ 5169312 h 5170714"/>
              <a:gd name="connsiteX3" fmla="*/ 1175657 w 2121857"/>
              <a:gd name="connsiteY3" fmla="*/ 5170714 h 5170714"/>
              <a:gd name="connsiteX4" fmla="*/ 0 w 2121857"/>
              <a:gd name="connsiteY4" fmla="*/ 0 h 5170714"/>
              <a:gd name="connsiteX0" fmla="*/ 0 w 2120792"/>
              <a:gd name="connsiteY0" fmla="*/ 0 h 5170714"/>
              <a:gd name="connsiteX1" fmla="*/ 2116634 w 2120792"/>
              <a:gd name="connsiteY1" fmla="*/ 8319 h 5170714"/>
              <a:gd name="connsiteX2" fmla="*/ 2120792 w 2120792"/>
              <a:gd name="connsiteY2" fmla="*/ 5169312 h 5170714"/>
              <a:gd name="connsiteX3" fmla="*/ 1175657 w 2120792"/>
              <a:gd name="connsiteY3" fmla="*/ 5170714 h 5170714"/>
              <a:gd name="connsiteX4" fmla="*/ 0 w 2120792"/>
              <a:gd name="connsiteY4" fmla="*/ 0 h 5170714"/>
              <a:gd name="connsiteX0" fmla="*/ 0 w 2121859"/>
              <a:gd name="connsiteY0" fmla="*/ 4160 h 5174874"/>
              <a:gd name="connsiteX1" fmla="*/ 2120794 w 2121859"/>
              <a:gd name="connsiteY1" fmla="*/ 0 h 5174874"/>
              <a:gd name="connsiteX2" fmla="*/ 2120792 w 2121859"/>
              <a:gd name="connsiteY2" fmla="*/ 5173472 h 5174874"/>
              <a:gd name="connsiteX3" fmla="*/ 1175657 w 2121859"/>
              <a:gd name="connsiteY3" fmla="*/ 5174874 h 5174874"/>
              <a:gd name="connsiteX4" fmla="*/ 0 w 2121859"/>
              <a:gd name="connsiteY4" fmla="*/ 4160 h 5174874"/>
              <a:gd name="connsiteX0" fmla="*/ 0 w 2120792"/>
              <a:gd name="connsiteY0" fmla="*/ 0 h 5170714"/>
              <a:gd name="connsiteX1" fmla="*/ 2116634 w 2120792"/>
              <a:gd name="connsiteY1" fmla="*/ 4159 h 5170714"/>
              <a:gd name="connsiteX2" fmla="*/ 2120792 w 2120792"/>
              <a:gd name="connsiteY2" fmla="*/ 5169312 h 5170714"/>
              <a:gd name="connsiteX3" fmla="*/ 1175657 w 2120792"/>
              <a:gd name="connsiteY3" fmla="*/ 5170714 h 5170714"/>
              <a:gd name="connsiteX4" fmla="*/ 0 w 2120792"/>
              <a:gd name="connsiteY4" fmla="*/ 0 h 5170714"/>
              <a:gd name="connsiteX0" fmla="*/ 0 w 2121858"/>
              <a:gd name="connsiteY0" fmla="*/ 4160 h 5174874"/>
              <a:gd name="connsiteX1" fmla="*/ 2120793 w 2121858"/>
              <a:gd name="connsiteY1" fmla="*/ 0 h 5174874"/>
              <a:gd name="connsiteX2" fmla="*/ 2120792 w 2121858"/>
              <a:gd name="connsiteY2" fmla="*/ 5173472 h 5174874"/>
              <a:gd name="connsiteX3" fmla="*/ 1175657 w 2121858"/>
              <a:gd name="connsiteY3" fmla="*/ 5174874 h 5174874"/>
              <a:gd name="connsiteX4" fmla="*/ 0 w 2121858"/>
              <a:gd name="connsiteY4" fmla="*/ 4160 h 5174874"/>
              <a:gd name="connsiteX0" fmla="*/ 0 w 2125690"/>
              <a:gd name="connsiteY0" fmla="*/ 0 h 5170714"/>
              <a:gd name="connsiteX1" fmla="*/ 2124952 w 2125690"/>
              <a:gd name="connsiteY1" fmla="*/ 0 h 5170714"/>
              <a:gd name="connsiteX2" fmla="*/ 2120792 w 2125690"/>
              <a:gd name="connsiteY2" fmla="*/ 5169312 h 5170714"/>
              <a:gd name="connsiteX3" fmla="*/ 1175657 w 2125690"/>
              <a:gd name="connsiteY3" fmla="*/ 5170714 h 5170714"/>
              <a:gd name="connsiteX4" fmla="*/ 0 w 2125690"/>
              <a:gd name="connsiteY4" fmla="*/ 0 h 5170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25690" h="5170714">
                <a:moveTo>
                  <a:pt x="0" y="0"/>
                </a:moveTo>
                <a:lnTo>
                  <a:pt x="2124952" y="0"/>
                </a:lnTo>
                <a:cubicBezTo>
                  <a:pt x="2128644" y="1723571"/>
                  <a:pt x="2117100" y="3445741"/>
                  <a:pt x="2120792" y="5169312"/>
                </a:cubicBezTo>
                <a:lnTo>
                  <a:pt x="1175657" y="5170714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D465AF7-5505-4EB6-B212-0A1089202E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37096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ED465AF7-5505-4EB6-B212-0A1089202E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A9F9EF0D-C34A-427A-819C-F098A1F2978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F693DCC-B73B-4670-9202-19107BA7907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2CFF723-D7E3-4446-B8CF-0E726FBB9B1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93D3E608-AF21-4FAF-BFAD-4472E66FF78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8" y="6317458"/>
            <a:ext cx="1185536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Grafik 19">
            <a:extLst>
              <a:ext uri="{FF2B5EF4-FFF2-40B4-BE49-F238E27FC236}">
                <a16:creationId xmlns:a16="http://schemas.microsoft.com/office/drawing/2014/main" id="{8EA2A793-5D6A-4542-9B73-F2CC2CEEDDF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10855382" y="327932"/>
            <a:ext cx="1017525" cy="662674"/>
          </a:xfrm>
          <a:prstGeom prst="rect">
            <a:avLst/>
          </a:prstGeom>
        </p:spPr>
      </p:pic>
      <p:sp>
        <p:nvSpPr>
          <p:cNvPr id="13" name="Freihandform 2">
            <a:extLst>
              <a:ext uri="{FF2B5EF4-FFF2-40B4-BE49-F238E27FC236}">
                <a16:creationId xmlns:a16="http://schemas.microsoft.com/office/drawing/2014/main" id="{B23A34E3-5B78-493C-A56F-341313D9743A}"/>
              </a:ext>
            </a:extLst>
          </p:cNvPr>
          <p:cNvSpPr/>
          <p:nvPr userDrawn="1"/>
        </p:nvSpPr>
        <p:spPr bwMode="gray">
          <a:xfrm>
            <a:off x="1741715" y="0"/>
            <a:ext cx="5088293" cy="3893976"/>
          </a:xfrm>
          <a:custGeom>
            <a:avLst/>
            <a:gdLst>
              <a:gd name="connsiteX0" fmla="*/ 0 w 3816220"/>
              <a:gd name="connsiteY0" fmla="*/ 0 h 2920482"/>
              <a:gd name="connsiteX1" fmla="*/ 676469 w 3816220"/>
              <a:gd name="connsiteY1" fmla="*/ 2920482 h 2920482"/>
              <a:gd name="connsiteX2" fmla="*/ 3816220 w 3816220"/>
              <a:gd name="connsiteY2" fmla="*/ 2202024 h 2920482"/>
              <a:gd name="connsiteX3" fmla="*/ 3303036 w 3816220"/>
              <a:gd name="connsiteY3" fmla="*/ 0 h 2920482"/>
              <a:gd name="connsiteX4" fmla="*/ 0 w 3816220"/>
              <a:gd name="connsiteY4" fmla="*/ 0 h 29204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16220" h="2920482">
                <a:moveTo>
                  <a:pt x="0" y="0"/>
                </a:moveTo>
                <a:lnTo>
                  <a:pt x="676469" y="2920482"/>
                </a:lnTo>
                <a:lnTo>
                  <a:pt x="3816220" y="2202024"/>
                </a:lnTo>
                <a:lnTo>
                  <a:pt x="3303036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7BC4711-D31B-4CAE-A132-6C8DC6A678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544000" y="1482375"/>
            <a:ext cx="3528000" cy="784189"/>
          </a:xfrm>
        </p:spPr>
        <p:txBody>
          <a:bodyPr wrap="square" anchor="ctr">
            <a:spAutoFit/>
          </a:bodyPr>
          <a:lstStyle>
            <a:lvl1pPr>
              <a:lnSpc>
                <a:spcPct val="91000"/>
              </a:lnSpc>
              <a:defRPr sz="2800" spc="-40" baseline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Kapitelüberschrift durch Klicken bearbeiten</a:t>
            </a:r>
          </a:p>
        </p:txBody>
      </p:sp>
      <p:sp>
        <p:nvSpPr>
          <p:cNvPr id="17" name="Textplatzhalter 12">
            <a:extLst>
              <a:ext uri="{FF2B5EF4-FFF2-40B4-BE49-F238E27FC236}">
                <a16:creationId xmlns:a16="http://schemas.microsoft.com/office/drawing/2014/main" id="{DA2C09FA-10FC-49C0-918E-6CF62C83149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7439999" y="2879999"/>
            <a:ext cx="1452962" cy="1354217"/>
          </a:xfrm>
        </p:spPr>
        <p:txBody>
          <a:bodyPr wrap="none" anchor="ctr">
            <a:sp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8800" b="1" spc="-240" baseline="0">
                <a:solidFill>
                  <a:schemeClr val="bg1"/>
                </a:solidFill>
              </a:defRPr>
            </a:lvl1pPr>
            <a:lvl2pPr marL="0" indent="0" algn="r">
              <a:lnSpc>
                <a:spcPct val="100000"/>
              </a:lnSpc>
              <a:buFont typeface="Arial" panose="020B0604020202020204" pitchFamily="34" charset="0"/>
              <a:buNone/>
              <a:defRPr sz="8800" b="1" spc="-240" baseline="0">
                <a:solidFill>
                  <a:schemeClr val="tx1"/>
                </a:solidFill>
              </a:defRPr>
            </a:lvl2pPr>
            <a:lvl3pPr marL="0" indent="0" algn="r">
              <a:lnSpc>
                <a:spcPct val="100000"/>
              </a:lnSpc>
              <a:buNone/>
              <a:defRPr sz="8800" b="1" spc="-240" baseline="0">
                <a:solidFill>
                  <a:schemeClr val="tx1"/>
                </a:solidFill>
              </a:defRPr>
            </a:lvl3pPr>
            <a:lvl4pPr marL="0" indent="0" algn="r">
              <a:lnSpc>
                <a:spcPct val="100000"/>
              </a:lnSpc>
              <a:buNone/>
              <a:defRPr sz="8800" b="1" spc="-240" baseline="0">
                <a:solidFill>
                  <a:schemeClr val="tx1"/>
                </a:solidFill>
              </a:defRPr>
            </a:lvl4pPr>
            <a:lvl5pPr marL="0" indent="0" algn="r">
              <a:lnSpc>
                <a:spcPct val="100000"/>
              </a:lnSpc>
              <a:buNone/>
              <a:defRPr sz="8800" b="1" spc="-24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X.X</a:t>
            </a:r>
          </a:p>
        </p:txBody>
      </p:sp>
    </p:spTree>
    <p:extLst>
      <p:ext uri="{BB962C8B-B14F-4D97-AF65-F5344CB8AC3E}">
        <p14:creationId xmlns:p14="http://schemas.microsoft.com/office/powerpoint/2010/main" val="24850716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folie 03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544ECB68-0FF7-4DFF-B3C7-8327A7D40E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53" t="24927" r="58695" b="47079"/>
          <a:stretch/>
        </p:blipFill>
        <p:spPr bwMode="gray">
          <a:xfrm rot="10800000">
            <a:off x="-5" y="-1"/>
            <a:ext cx="12087924" cy="6317997"/>
          </a:xfrm>
          <a:prstGeom prst="rect">
            <a:avLst/>
          </a:prstGeom>
        </p:spPr>
      </p:pic>
      <p:sp>
        <p:nvSpPr>
          <p:cNvPr id="15" name="Freihandform 22">
            <a:extLst>
              <a:ext uri="{FF2B5EF4-FFF2-40B4-BE49-F238E27FC236}">
                <a16:creationId xmlns:a16="http://schemas.microsoft.com/office/drawing/2014/main" id="{E23044D8-2C6A-49D6-8BAE-ACD3ED6438DC}"/>
              </a:ext>
            </a:extLst>
          </p:cNvPr>
          <p:cNvSpPr/>
          <p:nvPr userDrawn="1"/>
        </p:nvSpPr>
        <p:spPr bwMode="gray">
          <a:xfrm>
            <a:off x="9397401" y="0"/>
            <a:ext cx="2819335" cy="6858000"/>
          </a:xfrm>
          <a:custGeom>
            <a:avLst/>
            <a:gdLst>
              <a:gd name="connsiteX0" fmla="*/ 0 w 4778829"/>
              <a:gd name="connsiteY0" fmla="*/ 0 h 5170714"/>
              <a:gd name="connsiteX1" fmla="*/ 4778829 w 4778829"/>
              <a:gd name="connsiteY1" fmla="*/ 0 h 5170714"/>
              <a:gd name="connsiteX2" fmla="*/ 4778829 w 4778829"/>
              <a:gd name="connsiteY2" fmla="*/ 5170714 h 5170714"/>
              <a:gd name="connsiteX3" fmla="*/ 1175657 w 4778829"/>
              <a:gd name="connsiteY3" fmla="*/ 5170714 h 5170714"/>
              <a:gd name="connsiteX4" fmla="*/ 0 w 4778829"/>
              <a:gd name="connsiteY4" fmla="*/ 0 h 5170714"/>
              <a:gd name="connsiteX0" fmla="*/ 0 w 4778829"/>
              <a:gd name="connsiteY0" fmla="*/ 0 h 5170714"/>
              <a:gd name="connsiteX1" fmla="*/ 2973578 w 4778829"/>
              <a:gd name="connsiteY1" fmla="*/ 420856 h 5170714"/>
              <a:gd name="connsiteX2" fmla="*/ 4778829 w 4778829"/>
              <a:gd name="connsiteY2" fmla="*/ 5170714 h 5170714"/>
              <a:gd name="connsiteX3" fmla="*/ 1175657 w 4778829"/>
              <a:gd name="connsiteY3" fmla="*/ 5170714 h 5170714"/>
              <a:gd name="connsiteX4" fmla="*/ 0 w 4778829"/>
              <a:gd name="connsiteY4" fmla="*/ 0 h 5170714"/>
              <a:gd name="connsiteX0" fmla="*/ 0 w 4778829"/>
              <a:gd name="connsiteY0" fmla="*/ 0 h 5170714"/>
              <a:gd name="connsiteX1" fmla="*/ 2076491 w 4778829"/>
              <a:gd name="connsiteY1" fmla="*/ 0 h 5170714"/>
              <a:gd name="connsiteX2" fmla="*/ 4778829 w 4778829"/>
              <a:gd name="connsiteY2" fmla="*/ 5170714 h 5170714"/>
              <a:gd name="connsiteX3" fmla="*/ 1175657 w 4778829"/>
              <a:gd name="connsiteY3" fmla="*/ 5170714 h 5170714"/>
              <a:gd name="connsiteX4" fmla="*/ 0 w 4778829"/>
              <a:gd name="connsiteY4" fmla="*/ 0 h 5170714"/>
              <a:gd name="connsiteX0" fmla="*/ 0 w 2076491"/>
              <a:gd name="connsiteY0" fmla="*/ 0 h 5170714"/>
              <a:gd name="connsiteX1" fmla="*/ 2076491 w 2076491"/>
              <a:gd name="connsiteY1" fmla="*/ 0 h 5170714"/>
              <a:gd name="connsiteX2" fmla="*/ 2043266 w 2076491"/>
              <a:gd name="connsiteY2" fmla="*/ 5026737 h 5170714"/>
              <a:gd name="connsiteX3" fmla="*/ 1175657 w 2076491"/>
              <a:gd name="connsiteY3" fmla="*/ 5170714 h 5170714"/>
              <a:gd name="connsiteX4" fmla="*/ 0 w 2076491"/>
              <a:gd name="connsiteY4" fmla="*/ 0 h 5170714"/>
              <a:gd name="connsiteX0" fmla="*/ 0 w 2120792"/>
              <a:gd name="connsiteY0" fmla="*/ 0 h 5181789"/>
              <a:gd name="connsiteX1" fmla="*/ 2076491 w 2120792"/>
              <a:gd name="connsiteY1" fmla="*/ 0 h 5181789"/>
              <a:gd name="connsiteX2" fmla="*/ 2120792 w 2120792"/>
              <a:gd name="connsiteY2" fmla="*/ 5181789 h 5181789"/>
              <a:gd name="connsiteX3" fmla="*/ 1175657 w 2120792"/>
              <a:gd name="connsiteY3" fmla="*/ 5170714 h 5181789"/>
              <a:gd name="connsiteX4" fmla="*/ 0 w 2120792"/>
              <a:gd name="connsiteY4" fmla="*/ 0 h 5181789"/>
              <a:gd name="connsiteX0" fmla="*/ 0 w 2120792"/>
              <a:gd name="connsiteY0" fmla="*/ 0 h 5181789"/>
              <a:gd name="connsiteX1" fmla="*/ 2109717 w 2120792"/>
              <a:gd name="connsiteY1" fmla="*/ 11075 h 5181789"/>
              <a:gd name="connsiteX2" fmla="*/ 2120792 w 2120792"/>
              <a:gd name="connsiteY2" fmla="*/ 5181789 h 5181789"/>
              <a:gd name="connsiteX3" fmla="*/ 1175657 w 2120792"/>
              <a:gd name="connsiteY3" fmla="*/ 5170714 h 5181789"/>
              <a:gd name="connsiteX4" fmla="*/ 0 w 2120792"/>
              <a:gd name="connsiteY4" fmla="*/ 0 h 5181789"/>
              <a:gd name="connsiteX0" fmla="*/ 0 w 2121857"/>
              <a:gd name="connsiteY0" fmla="*/ 0 h 5181789"/>
              <a:gd name="connsiteX1" fmla="*/ 2120792 w 2121857"/>
              <a:gd name="connsiteY1" fmla="*/ 0 h 5181789"/>
              <a:gd name="connsiteX2" fmla="*/ 2120792 w 2121857"/>
              <a:gd name="connsiteY2" fmla="*/ 5181789 h 5181789"/>
              <a:gd name="connsiteX3" fmla="*/ 1175657 w 2121857"/>
              <a:gd name="connsiteY3" fmla="*/ 5170714 h 5181789"/>
              <a:gd name="connsiteX4" fmla="*/ 0 w 2121857"/>
              <a:gd name="connsiteY4" fmla="*/ 0 h 5181789"/>
              <a:gd name="connsiteX0" fmla="*/ 0 w 2120912"/>
              <a:gd name="connsiteY0" fmla="*/ 0 h 5170714"/>
              <a:gd name="connsiteX1" fmla="*/ 2120792 w 2120912"/>
              <a:gd name="connsiteY1" fmla="*/ 0 h 5170714"/>
              <a:gd name="connsiteX2" fmla="*/ 2045922 w 2120912"/>
              <a:gd name="connsiteY2" fmla="*/ 5119398 h 5170714"/>
              <a:gd name="connsiteX3" fmla="*/ 1175657 w 2120912"/>
              <a:gd name="connsiteY3" fmla="*/ 5170714 h 5170714"/>
              <a:gd name="connsiteX4" fmla="*/ 0 w 2120912"/>
              <a:gd name="connsiteY4" fmla="*/ 0 h 5170714"/>
              <a:gd name="connsiteX0" fmla="*/ 0 w 2121251"/>
              <a:gd name="connsiteY0" fmla="*/ 0 h 5173471"/>
              <a:gd name="connsiteX1" fmla="*/ 2120792 w 2121251"/>
              <a:gd name="connsiteY1" fmla="*/ 0 h 5173471"/>
              <a:gd name="connsiteX2" fmla="*/ 2108314 w 2121251"/>
              <a:gd name="connsiteY2" fmla="*/ 5173471 h 5173471"/>
              <a:gd name="connsiteX3" fmla="*/ 1175657 w 2121251"/>
              <a:gd name="connsiteY3" fmla="*/ 5170714 h 5173471"/>
              <a:gd name="connsiteX4" fmla="*/ 0 w 2121251"/>
              <a:gd name="connsiteY4" fmla="*/ 0 h 5173471"/>
              <a:gd name="connsiteX0" fmla="*/ 0 w 2121358"/>
              <a:gd name="connsiteY0" fmla="*/ 0 h 5173471"/>
              <a:gd name="connsiteX1" fmla="*/ 2120792 w 2121358"/>
              <a:gd name="connsiteY1" fmla="*/ 0 h 5173471"/>
              <a:gd name="connsiteX2" fmla="*/ 2112473 w 2121358"/>
              <a:gd name="connsiteY2" fmla="*/ 5173471 h 5173471"/>
              <a:gd name="connsiteX3" fmla="*/ 1175657 w 2121358"/>
              <a:gd name="connsiteY3" fmla="*/ 5170714 h 5173471"/>
              <a:gd name="connsiteX4" fmla="*/ 0 w 2121358"/>
              <a:gd name="connsiteY4" fmla="*/ 0 h 5173471"/>
              <a:gd name="connsiteX0" fmla="*/ 0 w 2121857"/>
              <a:gd name="connsiteY0" fmla="*/ 0 h 5170714"/>
              <a:gd name="connsiteX1" fmla="*/ 2120792 w 2121857"/>
              <a:gd name="connsiteY1" fmla="*/ 0 h 5170714"/>
              <a:gd name="connsiteX2" fmla="*/ 2120792 w 2121857"/>
              <a:gd name="connsiteY2" fmla="*/ 5169312 h 5170714"/>
              <a:gd name="connsiteX3" fmla="*/ 1175657 w 2121857"/>
              <a:gd name="connsiteY3" fmla="*/ 5170714 h 5170714"/>
              <a:gd name="connsiteX4" fmla="*/ 0 w 2121857"/>
              <a:gd name="connsiteY4" fmla="*/ 0 h 5170714"/>
              <a:gd name="connsiteX0" fmla="*/ 0 w 2120792"/>
              <a:gd name="connsiteY0" fmla="*/ 0 h 5170714"/>
              <a:gd name="connsiteX1" fmla="*/ 2116634 w 2120792"/>
              <a:gd name="connsiteY1" fmla="*/ 8319 h 5170714"/>
              <a:gd name="connsiteX2" fmla="*/ 2120792 w 2120792"/>
              <a:gd name="connsiteY2" fmla="*/ 5169312 h 5170714"/>
              <a:gd name="connsiteX3" fmla="*/ 1175657 w 2120792"/>
              <a:gd name="connsiteY3" fmla="*/ 5170714 h 5170714"/>
              <a:gd name="connsiteX4" fmla="*/ 0 w 2120792"/>
              <a:gd name="connsiteY4" fmla="*/ 0 h 5170714"/>
              <a:gd name="connsiteX0" fmla="*/ 0 w 2121859"/>
              <a:gd name="connsiteY0" fmla="*/ 4160 h 5174874"/>
              <a:gd name="connsiteX1" fmla="*/ 2120794 w 2121859"/>
              <a:gd name="connsiteY1" fmla="*/ 0 h 5174874"/>
              <a:gd name="connsiteX2" fmla="*/ 2120792 w 2121859"/>
              <a:gd name="connsiteY2" fmla="*/ 5173472 h 5174874"/>
              <a:gd name="connsiteX3" fmla="*/ 1175657 w 2121859"/>
              <a:gd name="connsiteY3" fmla="*/ 5174874 h 5174874"/>
              <a:gd name="connsiteX4" fmla="*/ 0 w 2121859"/>
              <a:gd name="connsiteY4" fmla="*/ 4160 h 5174874"/>
              <a:gd name="connsiteX0" fmla="*/ 0 w 2120792"/>
              <a:gd name="connsiteY0" fmla="*/ 0 h 5170714"/>
              <a:gd name="connsiteX1" fmla="*/ 2116634 w 2120792"/>
              <a:gd name="connsiteY1" fmla="*/ 4159 h 5170714"/>
              <a:gd name="connsiteX2" fmla="*/ 2120792 w 2120792"/>
              <a:gd name="connsiteY2" fmla="*/ 5169312 h 5170714"/>
              <a:gd name="connsiteX3" fmla="*/ 1175657 w 2120792"/>
              <a:gd name="connsiteY3" fmla="*/ 5170714 h 5170714"/>
              <a:gd name="connsiteX4" fmla="*/ 0 w 2120792"/>
              <a:gd name="connsiteY4" fmla="*/ 0 h 5170714"/>
              <a:gd name="connsiteX0" fmla="*/ 0 w 2121858"/>
              <a:gd name="connsiteY0" fmla="*/ 4160 h 5174874"/>
              <a:gd name="connsiteX1" fmla="*/ 2120793 w 2121858"/>
              <a:gd name="connsiteY1" fmla="*/ 0 h 5174874"/>
              <a:gd name="connsiteX2" fmla="*/ 2120792 w 2121858"/>
              <a:gd name="connsiteY2" fmla="*/ 5173472 h 5174874"/>
              <a:gd name="connsiteX3" fmla="*/ 1175657 w 2121858"/>
              <a:gd name="connsiteY3" fmla="*/ 5174874 h 5174874"/>
              <a:gd name="connsiteX4" fmla="*/ 0 w 2121858"/>
              <a:gd name="connsiteY4" fmla="*/ 4160 h 5174874"/>
              <a:gd name="connsiteX0" fmla="*/ 0 w 2125690"/>
              <a:gd name="connsiteY0" fmla="*/ 0 h 5170714"/>
              <a:gd name="connsiteX1" fmla="*/ 2124952 w 2125690"/>
              <a:gd name="connsiteY1" fmla="*/ 0 h 5170714"/>
              <a:gd name="connsiteX2" fmla="*/ 2120792 w 2125690"/>
              <a:gd name="connsiteY2" fmla="*/ 5169312 h 5170714"/>
              <a:gd name="connsiteX3" fmla="*/ 1175657 w 2125690"/>
              <a:gd name="connsiteY3" fmla="*/ 5170714 h 5170714"/>
              <a:gd name="connsiteX4" fmla="*/ 0 w 2125690"/>
              <a:gd name="connsiteY4" fmla="*/ 0 h 5170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25690" h="5170714">
                <a:moveTo>
                  <a:pt x="0" y="0"/>
                </a:moveTo>
                <a:lnTo>
                  <a:pt x="2124952" y="0"/>
                </a:lnTo>
                <a:cubicBezTo>
                  <a:pt x="2128644" y="1723571"/>
                  <a:pt x="2117100" y="3445741"/>
                  <a:pt x="2120792" y="5169312"/>
                </a:cubicBezTo>
                <a:lnTo>
                  <a:pt x="1175657" y="5170714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D465AF7-5505-4EB6-B212-0A1089202E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3781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ED465AF7-5505-4EB6-B212-0A1089202E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A9F9EF0D-C34A-427A-819C-F098A1F2978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F693DCC-B73B-4670-9202-19107BA7907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2CFF723-D7E3-4446-B8CF-0E726FBB9B1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93D3E608-AF21-4FAF-BFAD-4472E66FF78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8" y="6317458"/>
            <a:ext cx="1185536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>
            <a:extLst>
              <a:ext uri="{FF2B5EF4-FFF2-40B4-BE49-F238E27FC236}">
                <a16:creationId xmlns:a16="http://schemas.microsoft.com/office/drawing/2014/main" id="{F7BC4711-D31B-4CAE-A132-6C8DC6A678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285862" y="4365104"/>
            <a:ext cx="5400000" cy="784189"/>
          </a:xfrm>
        </p:spPr>
        <p:txBody>
          <a:bodyPr anchor="ctr">
            <a:spAutoFit/>
          </a:bodyPr>
          <a:lstStyle>
            <a:lvl1pPr>
              <a:lnSpc>
                <a:spcPct val="91000"/>
              </a:lnSpc>
              <a:defRPr sz="2800" spc="-4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Kapitelüberschrift durch Klicken bearbeiten</a:t>
            </a:r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55C16364-4B9F-4351-85CC-8E18BDD3DE4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1741716" y="0"/>
            <a:ext cx="5088293" cy="3893976"/>
          </a:xfrm>
          <a:custGeom>
            <a:avLst/>
            <a:gdLst>
              <a:gd name="connsiteX0" fmla="*/ 0 w 5088293"/>
              <a:gd name="connsiteY0" fmla="*/ 0 h 3893976"/>
              <a:gd name="connsiteX1" fmla="*/ 4404048 w 5088293"/>
              <a:gd name="connsiteY1" fmla="*/ 0 h 3893976"/>
              <a:gd name="connsiteX2" fmla="*/ 5088293 w 5088293"/>
              <a:gd name="connsiteY2" fmla="*/ 2936032 h 3893976"/>
              <a:gd name="connsiteX3" fmla="*/ 901959 w 5088293"/>
              <a:gd name="connsiteY3" fmla="*/ 3893976 h 38939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88293" h="3893976">
                <a:moveTo>
                  <a:pt x="0" y="0"/>
                </a:moveTo>
                <a:lnTo>
                  <a:pt x="4404048" y="0"/>
                </a:lnTo>
                <a:lnTo>
                  <a:pt x="5088293" y="2936032"/>
                </a:lnTo>
                <a:lnTo>
                  <a:pt x="901959" y="3893976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txBody>
          <a:bodyPr wrap="square" lIns="72000">
            <a:noAutofit/>
          </a:bodyPr>
          <a:lstStyle>
            <a:lvl1pPr>
              <a:lnSpc>
                <a:spcPct val="100000"/>
              </a:lnSpc>
              <a:defRPr sz="1800" b="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8EA2A793-5D6A-4542-9B73-F2CC2CEEDDF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10855382" y="327932"/>
            <a:ext cx="1017525" cy="662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36166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04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B5E85443-2D4B-4FDB-B496-F2CA2ED9360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-8" y="0"/>
            <a:ext cx="7427580" cy="6858000"/>
          </a:xfrm>
          <a:custGeom>
            <a:avLst/>
            <a:gdLst>
              <a:gd name="connsiteX0" fmla="*/ 0 w 7427580"/>
              <a:gd name="connsiteY0" fmla="*/ 0 h 6858000"/>
              <a:gd name="connsiteX1" fmla="*/ 5868287 w 7427580"/>
              <a:gd name="connsiteY1" fmla="*/ 0 h 6858000"/>
              <a:gd name="connsiteX2" fmla="*/ 7427580 w 7427580"/>
              <a:gd name="connsiteY2" fmla="*/ 6858000 h 6858000"/>
              <a:gd name="connsiteX3" fmla="*/ 0 w 742758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27580" h="6858000">
                <a:moveTo>
                  <a:pt x="0" y="0"/>
                </a:moveTo>
                <a:lnTo>
                  <a:pt x="5868287" y="0"/>
                </a:lnTo>
                <a:lnTo>
                  <a:pt x="742758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txBody>
          <a:bodyPr wrap="square">
            <a:noAutofit/>
          </a:bodyPr>
          <a:lstStyle>
            <a:lvl1pPr>
              <a:lnSpc>
                <a:spcPct val="100000"/>
              </a:lnSpc>
              <a:defRPr sz="1800" b="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D465AF7-5505-4EB6-B212-0A1089202E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66527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ED465AF7-5505-4EB6-B212-0A1089202E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A9F9EF0D-C34A-427A-819C-F098A1F2978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4DA30996-C27C-4DAD-82D5-502DC22EC03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9831968" y="5045190"/>
            <a:ext cx="1664632" cy="1084110"/>
          </a:xfrm>
          <a:prstGeom prst="rect">
            <a:avLst/>
          </a:prstGeom>
        </p:spPr>
      </p:pic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770087C0-3568-45FD-9C87-E424902B48D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800001" y="719983"/>
            <a:ext cx="4320002" cy="4320003"/>
          </a:xfrm>
          <a:custGeom>
            <a:avLst/>
            <a:gdLst>
              <a:gd name="connsiteX0" fmla="*/ 0 w 4320002"/>
              <a:gd name="connsiteY0" fmla="*/ 0 h 4320003"/>
              <a:gd name="connsiteX1" fmla="*/ 4320002 w 4320002"/>
              <a:gd name="connsiteY1" fmla="*/ 0 h 4320003"/>
              <a:gd name="connsiteX2" fmla="*/ 4320002 w 4320002"/>
              <a:gd name="connsiteY2" fmla="*/ 4320003 h 4320003"/>
              <a:gd name="connsiteX3" fmla="*/ 0 w 4320002"/>
              <a:gd name="connsiteY3" fmla="*/ 4320003 h 4320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20002" h="4320003">
                <a:moveTo>
                  <a:pt x="0" y="0"/>
                </a:moveTo>
                <a:lnTo>
                  <a:pt x="4320002" y="0"/>
                </a:lnTo>
                <a:lnTo>
                  <a:pt x="4320002" y="4320003"/>
                </a:lnTo>
                <a:lnTo>
                  <a:pt x="0" y="4320003"/>
                </a:lnTo>
                <a:close/>
              </a:path>
            </a:pathLst>
          </a:custGeom>
          <a:solidFill>
            <a:srgbClr val="FF8C00">
              <a:alpha val="80000"/>
            </a:srgbClr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92D727DD-9096-4668-A378-69890C9500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367464" y="287446"/>
            <a:ext cx="5185077" cy="5185077"/>
          </a:xfrm>
          <a:custGeom>
            <a:avLst/>
            <a:gdLst>
              <a:gd name="connsiteX0" fmla="*/ 977003 w 5185077"/>
              <a:gd name="connsiteY0" fmla="*/ 0 h 5185077"/>
              <a:gd name="connsiteX1" fmla="*/ 5185077 w 5185077"/>
              <a:gd name="connsiteY1" fmla="*/ 977003 h 5185077"/>
              <a:gd name="connsiteX2" fmla="*/ 4208075 w 5185077"/>
              <a:gd name="connsiteY2" fmla="*/ 5185077 h 5185077"/>
              <a:gd name="connsiteX3" fmla="*/ 0 w 5185077"/>
              <a:gd name="connsiteY3" fmla="*/ 4208075 h 51850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85077" h="5185077">
                <a:moveTo>
                  <a:pt x="977003" y="0"/>
                </a:moveTo>
                <a:lnTo>
                  <a:pt x="5185077" y="977003"/>
                </a:lnTo>
                <a:lnTo>
                  <a:pt x="4208075" y="5185077"/>
                </a:lnTo>
                <a:lnTo>
                  <a:pt x="0" y="4208075"/>
                </a:lnTo>
                <a:close/>
              </a:path>
            </a:pathLst>
          </a:custGeom>
          <a:solidFill>
            <a:srgbClr val="FF8C00">
              <a:alpha val="80000"/>
            </a:srgbClr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7BC4711-D31B-4CAE-A132-6C8DC6A6787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5238274" y="2207781"/>
            <a:ext cx="3600000" cy="1344407"/>
          </a:xfrm>
        </p:spPr>
        <p:txBody>
          <a:bodyPr anchor="ctr">
            <a:spAutoFit/>
          </a:bodyPr>
          <a:lstStyle>
            <a:lvl1pPr>
              <a:lnSpc>
                <a:spcPct val="91000"/>
              </a:lnSpc>
              <a:defRPr sz="3200" spc="-4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Kapitelüberschrif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1852182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04 mit Bild und Stemp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B5E85443-2D4B-4FDB-B496-F2CA2ED9360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-8" y="0"/>
            <a:ext cx="7427580" cy="6858000"/>
          </a:xfrm>
          <a:custGeom>
            <a:avLst/>
            <a:gdLst>
              <a:gd name="connsiteX0" fmla="*/ 0 w 7427580"/>
              <a:gd name="connsiteY0" fmla="*/ 0 h 6858000"/>
              <a:gd name="connsiteX1" fmla="*/ 5868287 w 7427580"/>
              <a:gd name="connsiteY1" fmla="*/ 0 h 6858000"/>
              <a:gd name="connsiteX2" fmla="*/ 7427580 w 7427580"/>
              <a:gd name="connsiteY2" fmla="*/ 6858000 h 6858000"/>
              <a:gd name="connsiteX3" fmla="*/ 0 w 742758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27580" h="6858000">
                <a:moveTo>
                  <a:pt x="0" y="0"/>
                </a:moveTo>
                <a:lnTo>
                  <a:pt x="5868287" y="0"/>
                </a:lnTo>
                <a:lnTo>
                  <a:pt x="742758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txBody>
          <a:bodyPr wrap="square">
            <a:noAutofit/>
          </a:bodyPr>
          <a:lstStyle>
            <a:lvl1pPr>
              <a:lnSpc>
                <a:spcPct val="100000"/>
              </a:lnSpc>
              <a:defRPr sz="1800" b="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D465AF7-5505-4EB6-B212-0A1089202E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5072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ED465AF7-5505-4EB6-B212-0A1089202E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A9F9EF0D-C34A-427A-819C-F098A1F2978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4DA30996-C27C-4DAD-82D5-502DC22EC03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9831968" y="707191"/>
            <a:ext cx="1664632" cy="1084110"/>
          </a:xfrm>
          <a:prstGeom prst="rect">
            <a:avLst/>
          </a:prstGeom>
        </p:spPr>
      </p:pic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7305DC97-CB93-48BE-AFFB-DB752F4912C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800000" y="1680000"/>
            <a:ext cx="4320003" cy="4320003"/>
          </a:xfrm>
          <a:custGeom>
            <a:avLst/>
            <a:gdLst>
              <a:gd name="connsiteX0" fmla="*/ 0 w 4320003"/>
              <a:gd name="connsiteY0" fmla="*/ 0 h 4320003"/>
              <a:gd name="connsiteX1" fmla="*/ 4320003 w 4320003"/>
              <a:gd name="connsiteY1" fmla="*/ 0 h 4320003"/>
              <a:gd name="connsiteX2" fmla="*/ 4320003 w 4320003"/>
              <a:gd name="connsiteY2" fmla="*/ 4320003 h 4320003"/>
              <a:gd name="connsiteX3" fmla="*/ 0 w 4320003"/>
              <a:gd name="connsiteY3" fmla="*/ 4320003 h 4320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20003" h="4320003">
                <a:moveTo>
                  <a:pt x="0" y="0"/>
                </a:moveTo>
                <a:lnTo>
                  <a:pt x="4320003" y="0"/>
                </a:lnTo>
                <a:lnTo>
                  <a:pt x="4320003" y="4320003"/>
                </a:lnTo>
                <a:lnTo>
                  <a:pt x="0" y="4320003"/>
                </a:lnTo>
                <a:close/>
              </a:path>
            </a:pathLst>
          </a:custGeom>
          <a:solidFill>
            <a:srgbClr val="FF8C00">
              <a:alpha val="80000"/>
            </a:srgbClr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34FE4925-F0A3-4DEB-8B3E-8E86537CDC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370459" y="1250460"/>
            <a:ext cx="5179085" cy="5179085"/>
          </a:xfrm>
          <a:custGeom>
            <a:avLst/>
            <a:gdLst>
              <a:gd name="connsiteX0" fmla="*/ 4209877 w 5179085"/>
              <a:gd name="connsiteY0" fmla="*/ 0 h 5179085"/>
              <a:gd name="connsiteX1" fmla="*/ 5179085 w 5179085"/>
              <a:gd name="connsiteY1" fmla="*/ 4209877 h 5179085"/>
              <a:gd name="connsiteX2" fmla="*/ 969208 w 5179085"/>
              <a:gd name="connsiteY2" fmla="*/ 5179085 h 5179085"/>
              <a:gd name="connsiteX3" fmla="*/ 0 w 5179085"/>
              <a:gd name="connsiteY3" fmla="*/ 969208 h 5179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9085" h="5179085">
                <a:moveTo>
                  <a:pt x="4209877" y="0"/>
                </a:moveTo>
                <a:lnTo>
                  <a:pt x="5179085" y="4209877"/>
                </a:lnTo>
                <a:lnTo>
                  <a:pt x="969208" y="5179085"/>
                </a:lnTo>
                <a:lnTo>
                  <a:pt x="0" y="969208"/>
                </a:lnTo>
                <a:close/>
              </a:path>
            </a:pathLst>
          </a:custGeom>
          <a:solidFill>
            <a:srgbClr val="FF8C00">
              <a:alpha val="80000"/>
            </a:srgbClr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7BC4711-D31B-4CAE-A132-6C8DC6A6787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5238274" y="3167798"/>
            <a:ext cx="3600000" cy="1344407"/>
          </a:xfrm>
        </p:spPr>
        <p:txBody>
          <a:bodyPr anchor="ctr">
            <a:spAutoFit/>
          </a:bodyPr>
          <a:lstStyle>
            <a:lvl1pPr>
              <a:lnSpc>
                <a:spcPct val="91000"/>
              </a:lnSpc>
              <a:defRPr sz="3200" spc="-4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Kapitelüberschrift durch Klicken bearbeiten</a:t>
            </a:r>
          </a:p>
        </p:txBody>
      </p:sp>
      <p:sp>
        <p:nvSpPr>
          <p:cNvPr id="25" name="Bildplatzhalter 17">
            <a:extLst>
              <a:ext uri="{FF2B5EF4-FFF2-40B4-BE49-F238E27FC236}">
                <a16:creationId xmlns:a16="http://schemas.microsoft.com/office/drawing/2014/main" id="{F2B4C45D-AB55-414C-AD5A-2E710926272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9820639" y="5653424"/>
            <a:ext cx="1681297" cy="367963"/>
          </a:xfrm>
        </p:spPr>
        <p:txBody>
          <a:bodyPr/>
          <a:lstStyle>
            <a:lvl1pPr>
              <a:lnSpc>
                <a:spcPct val="100000"/>
              </a:lnSpc>
              <a:defRPr sz="1200" b="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10001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Grafik 25">
            <a:extLst>
              <a:ext uri="{FF2B5EF4-FFF2-40B4-BE49-F238E27FC236}">
                <a16:creationId xmlns:a16="http://schemas.microsoft.com/office/drawing/2014/main" id="{F3CC6844-B310-462B-8936-62A1EE8FD3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68" t="14928" r="50466" b="57078"/>
          <a:stretch/>
        </p:blipFill>
        <p:spPr bwMode="gray">
          <a:xfrm rot="10800000">
            <a:off x="-8" y="1"/>
            <a:ext cx="12206519" cy="6317999"/>
          </a:xfrm>
          <a:prstGeom prst="rect">
            <a:avLst/>
          </a:prstGeom>
        </p:spPr>
      </p:pic>
      <p:sp>
        <p:nvSpPr>
          <p:cNvPr id="28" name="Freihandform 22">
            <a:extLst>
              <a:ext uri="{FF2B5EF4-FFF2-40B4-BE49-F238E27FC236}">
                <a16:creationId xmlns:a16="http://schemas.microsoft.com/office/drawing/2014/main" id="{33517879-5B85-40F6-B10A-ACCECB5A067D}"/>
              </a:ext>
            </a:extLst>
          </p:cNvPr>
          <p:cNvSpPr/>
          <p:nvPr userDrawn="1"/>
        </p:nvSpPr>
        <p:spPr bwMode="gray">
          <a:xfrm>
            <a:off x="5868278" y="0"/>
            <a:ext cx="6338237" cy="6858000"/>
          </a:xfrm>
          <a:custGeom>
            <a:avLst/>
            <a:gdLst>
              <a:gd name="connsiteX0" fmla="*/ 0 w 4778829"/>
              <a:gd name="connsiteY0" fmla="*/ 0 h 5170714"/>
              <a:gd name="connsiteX1" fmla="*/ 4778829 w 4778829"/>
              <a:gd name="connsiteY1" fmla="*/ 0 h 5170714"/>
              <a:gd name="connsiteX2" fmla="*/ 4778829 w 4778829"/>
              <a:gd name="connsiteY2" fmla="*/ 5170714 h 5170714"/>
              <a:gd name="connsiteX3" fmla="*/ 1175657 w 4778829"/>
              <a:gd name="connsiteY3" fmla="*/ 5170714 h 5170714"/>
              <a:gd name="connsiteX4" fmla="*/ 0 w 4778829"/>
              <a:gd name="connsiteY4" fmla="*/ 0 h 5170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78829" h="5170714">
                <a:moveTo>
                  <a:pt x="0" y="0"/>
                </a:moveTo>
                <a:lnTo>
                  <a:pt x="4778829" y="0"/>
                </a:lnTo>
                <a:lnTo>
                  <a:pt x="4778829" y="5170714"/>
                </a:lnTo>
                <a:lnTo>
                  <a:pt x="1175657" y="5170714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17144C21-5DBC-4E9A-8365-3B68F68E146D}"/>
              </a:ext>
            </a:extLst>
          </p:cNvPr>
          <p:cNvSpPr/>
          <p:nvPr userDrawn="1"/>
        </p:nvSpPr>
        <p:spPr bwMode="gray">
          <a:xfrm>
            <a:off x="4896000" y="719983"/>
            <a:ext cx="4320003" cy="4320003"/>
          </a:xfrm>
          <a:prstGeom prst="rect">
            <a:avLst/>
          </a:prstGeom>
          <a:solidFill>
            <a:srgbClr val="FF8C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240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D465AF7-5505-4EB6-B212-0A1089202E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8171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ED465AF7-5505-4EB6-B212-0A1089202E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A9F9EF0D-C34A-427A-819C-F098A1F2978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E7D9AA52-BA42-4454-B84E-DB138FB64C25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8" y="6317458"/>
            <a:ext cx="1185536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5FF3E4E-F4C8-4A6B-AE7F-4DEE7CBD991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2FB2555-2ED1-412A-8C6E-07B8187F63A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4" name="Bildplatzhalter 7">
            <a:extLst>
              <a:ext uri="{FF2B5EF4-FFF2-40B4-BE49-F238E27FC236}">
                <a16:creationId xmlns:a16="http://schemas.microsoft.com/office/drawing/2014/main" id="{FB978D4F-CB03-4B41-A9B4-5E369C68D7F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576000" y="719981"/>
            <a:ext cx="4320000" cy="4320000"/>
          </a:xfrm>
          <a:solidFill>
            <a:schemeClr val="bg1"/>
          </a:solidFill>
          <a:ln w="12700">
            <a:noFill/>
          </a:ln>
        </p:spPr>
        <p:txBody>
          <a:bodyPr/>
          <a:lstStyle>
            <a:lvl1pPr>
              <a:lnSpc>
                <a:spcPct val="100000"/>
              </a:lnSpc>
              <a:defRPr sz="1800" b="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933BEFB6-1239-4DAA-99F4-D7410912A19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463464" y="287446"/>
            <a:ext cx="5185077" cy="5185077"/>
          </a:xfrm>
          <a:custGeom>
            <a:avLst/>
            <a:gdLst>
              <a:gd name="connsiteX0" fmla="*/ 977002 w 5185077"/>
              <a:gd name="connsiteY0" fmla="*/ 0 h 5185077"/>
              <a:gd name="connsiteX1" fmla="*/ 5185077 w 5185077"/>
              <a:gd name="connsiteY1" fmla="*/ 977002 h 5185077"/>
              <a:gd name="connsiteX2" fmla="*/ 4208075 w 5185077"/>
              <a:gd name="connsiteY2" fmla="*/ 5185077 h 5185077"/>
              <a:gd name="connsiteX3" fmla="*/ 0 w 5185077"/>
              <a:gd name="connsiteY3" fmla="*/ 4208075 h 51850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85077" h="5185077">
                <a:moveTo>
                  <a:pt x="977002" y="0"/>
                </a:moveTo>
                <a:lnTo>
                  <a:pt x="5185077" y="977002"/>
                </a:lnTo>
                <a:lnTo>
                  <a:pt x="4208075" y="5185077"/>
                </a:lnTo>
                <a:lnTo>
                  <a:pt x="0" y="4208075"/>
                </a:lnTo>
                <a:close/>
              </a:path>
            </a:pathLst>
          </a:custGeom>
          <a:solidFill>
            <a:srgbClr val="FF8C00">
              <a:alpha val="80000"/>
            </a:srgbClr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7BC4711-D31B-4CAE-A132-6C8DC6A678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328001" y="2012168"/>
            <a:ext cx="3600000" cy="896271"/>
          </a:xfrm>
        </p:spPr>
        <p:txBody>
          <a:bodyPr anchor="ctr">
            <a:spAutoFit/>
          </a:bodyPr>
          <a:lstStyle>
            <a:lvl1pPr>
              <a:lnSpc>
                <a:spcPct val="91000"/>
              </a:lnSpc>
              <a:defRPr sz="3200" spc="-4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Zitat durch Klicken bearbeiten</a:t>
            </a:r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878FE3DB-C83E-4616-B755-12AF657E76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852864" y="3891756"/>
            <a:ext cx="2871428" cy="276999"/>
          </a:xfrm>
        </p:spPr>
        <p:txBody>
          <a:bodyPr wrap="none" anchor="ctr">
            <a:spAutoFit/>
          </a:bodyPr>
          <a:lstStyle>
            <a:lvl1pPr marL="0" indent="0" algn="r">
              <a:lnSpc>
                <a:spcPct val="100000"/>
              </a:lnSpc>
              <a:buFont typeface="Arial" panose="020B0604020202020204" pitchFamily="34" charset="0"/>
              <a:buNone/>
              <a:defRPr sz="1800" b="0" spc="-20" baseline="0">
                <a:solidFill>
                  <a:schemeClr val="bg1"/>
                </a:solidFill>
              </a:defRPr>
            </a:lvl1pPr>
            <a:lvl2pPr marL="0" indent="0" algn="r">
              <a:lnSpc>
                <a:spcPct val="100000"/>
              </a:lnSpc>
              <a:buFont typeface="Arial" panose="020B0604020202020204" pitchFamily="34" charset="0"/>
              <a:buNone/>
              <a:defRPr sz="1800" b="0" spc="-20" baseline="0">
                <a:solidFill>
                  <a:schemeClr val="bg1"/>
                </a:solidFill>
              </a:defRPr>
            </a:lvl2pPr>
            <a:lvl3pPr marL="0" indent="0" algn="r">
              <a:lnSpc>
                <a:spcPct val="100000"/>
              </a:lnSpc>
              <a:buNone/>
              <a:defRPr sz="1800" b="0" spc="-20" baseline="0">
                <a:solidFill>
                  <a:schemeClr val="bg1"/>
                </a:solidFill>
              </a:defRPr>
            </a:lvl3pPr>
            <a:lvl4pPr marL="0" indent="0" algn="r">
              <a:lnSpc>
                <a:spcPct val="100000"/>
              </a:lnSpc>
              <a:buNone/>
              <a:defRPr sz="1800" b="0" spc="-20" baseline="0">
                <a:solidFill>
                  <a:schemeClr val="bg1"/>
                </a:solidFill>
              </a:defRPr>
            </a:lvl4pPr>
            <a:lvl5pPr marL="0" indent="0" algn="r">
              <a:lnSpc>
                <a:spcPct val="100000"/>
              </a:lnSpc>
              <a:buNone/>
              <a:defRPr sz="1800" b="0" spc="-2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 durch Klicken bearbeiten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22FEF3DC-75C3-4107-8803-9D2B622A72D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10855382" y="327932"/>
            <a:ext cx="1017525" cy="662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17986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70EC369-A260-44CE-88B8-A9B8140565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1088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70EC369-A260-44CE-88B8-A9B8140565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57A6501-2E26-4D0D-A6F9-21C7690BFFF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91E9400D-38AD-4D61-9DCA-AB824CD2130E}"/>
              </a:ext>
            </a:extLst>
          </p:cNvPr>
          <p:cNvGrpSpPr/>
          <p:nvPr userDrawn="1"/>
        </p:nvGrpSpPr>
        <p:grpSpPr bwMode="gray">
          <a:xfrm>
            <a:off x="335360" y="0"/>
            <a:ext cx="7488000" cy="1381760"/>
            <a:chOff x="266132" y="0"/>
            <a:chExt cx="5616000" cy="1036320"/>
          </a:xfrm>
        </p:grpSpPr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82DAE792-CC8A-44F5-9916-3EA767D15046}"/>
                </a:ext>
              </a:extLst>
            </p:cNvPr>
            <p:cNvSpPr/>
            <p:nvPr/>
          </p:nvSpPr>
          <p:spPr bwMode="gray">
            <a:xfrm>
              <a:off x="266132" y="0"/>
              <a:ext cx="5616000" cy="472881"/>
            </a:xfrm>
            <a:prstGeom prst="rect">
              <a:avLst/>
            </a:pr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dirty="0"/>
            </a:p>
          </p:txBody>
        </p:sp>
        <p:sp>
          <p:nvSpPr>
            <p:cNvPr id="20" name="Freihandform 14">
              <a:extLst>
                <a:ext uri="{FF2B5EF4-FFF2-40B4-BE49-F238E27FC236}">
                  <a16:creationId xmlns:a16="http://schemas.microsoft.com/office/drawing/2014/main" id="{E8E4F0C7-5722-43D4-AD52-0704197351A1}"/>
                </a:ext>
              </a:extLst>
            </p:cNvPr>
            <p:cNvSpPr/>
            <p:nvPr/>
          </p:nvSpPr>
          <p:spPr bwMode="gray">
            <a:xfrm>
              <a:off x="796544" y="0"/>
              <a:ext cx="4665472" cy="1036320"/>
            </a:xfrm>
            <a:custGeom>
              <a:avLst/>
              <a:gdLst>
                <a:gd name="connsiteX0" fmla="*/ 0 w 4665472"/>
                <a:gd name="connsiteY0" fmla="*/ 0 h 1036320"/>
                <a:gd name="connsiteX1" fmla="*/ 231648 w 4665472"/>
                <a:gd name="connsiteY1" fmla="*/ 1036320 h 1036320"/>
                <a:gd name="connsiteX2" fmla="*/ 4665472 w 4665472"/>
                <a:gd name="connsiteY2" fmla="*/ 4064 h 1036320"/>
                <a:gd name="connsiteX3" fmla="*/ 0 w 4665472"/>
                <a:gd name="connsiteY3" fmla="*/ 0 h 1036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65472" h="1036320">
                  <a:moveTo>
                    <a:pt x="0" y="0"/>
                  </a:moveTo>
                  <a:lnTo>
                    <a:pt x="231648" y="1036320"/>
                  </a:lnTo>
                  <a:lnTo>
                    <a:pt x="4665472" y="40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F8779A0-B0FF-4C21-BABB-4F02E5D74F6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4C7D7D-53EA-4ECC-B833-87968F4A84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E0E0C25-96EB-4DA7-8449-811E03DA83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95400" y="1844824"/>
            <a:ext cx="11160000" cy="4176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BF86CC5-67C9-4C2D-9EFB-EB02A80CCD0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324746" y="123360"/>
            <a:ext cx="6336000" cy="380104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3450566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Bild 01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70EC369-A260-44CE-88B8-A9B8140565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1837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70EC369-A260-44CE-88B8-A9B8140565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57A6501-2E26-4D0D-A6F9-21C7690BFFF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CA4D3EA5-19BE-4E80-B87B-10E49037D6DA}"/>
              </a:ext>
            </a:extLst>
          </p:cNvPr>
          <p:cNvGrpSpPr/>
          <p:nvPr userDrawn="1"/>
        </p:nvGrpSpPr>
        <p:grpSpPr bwMode="gray">
          <a:xfrm>
            <a:off x="335360" y="0"/>
            <a:ext cx="7488000" cy="1381760"/>
            <a:chOff x="266132" y="0"/>
            <a:chExt cx="5616000" cy="1036320"/>
          </a:xfrm>
        </p:grpSpPr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E2B63435-4BCF-4E91-87F6-40B7CD2DB067}"/>
                </a:ext>
              </a:extLst>
            </p:cNvPr>
            <p:cNvSpPr/>
            <p:nvPr/>
          </p:nvSpPr>
          <p:spPr bwMode="gray">
            <a:xfrm>
              <a:off x="266132" y="0"/>
              <a:ext cx="5616000" cy="472881"/>
            </a:xfrm>
            <a:prstGeom prst="rect">
              <a:avLst/>
            </a:pr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dirty="0"/>
            </a:p>
          </p:txBody>
        </p:sp>
        <p:sp>
          <p:nvSpPr>
            <p:cNvPr id="21" name="Freihandform 14">
              <a:extLst>
                <a:ext uri="{FF2B5EF4-FFF2-40B4-BE49-F238E27FC236}">
                  <a16:creationId xmlns:a16="http://schemas.microsoft.com/office/drawing/2014/main" id="{55836FA1-6584-41A8-A75B-E16532F9777D}"/>
                </a:ext>
              </a:extLst>
            </p:cNvPr>
            <p:cNvSpPr/>
            <p:nvPr/>
          </p:nvSpPr>
          <p:spPr bwMode="gray">
            <a:xfrm>
              <a:off x="796544" y="0"/>
              <a:ext cx="4665472" cy="1036320"/>
            </a:xfrm>
            <a:custGeom>
              <a:avLst/>
              <a:gdLst>
                <a:gd name="connsiteX0" fmla="*/ 0 w 4665472"/>
                <a:gd name="connsiteY0" fmla="*/ 0 h 1036320"/>
                <a:gd name="connsiteX1" fmla="*/ 231648 w 4665472"/>
                <a:gd name="connsiteY1" fmla="*/ 1036320 h 1036320"/>
                <a:gd name="connsiteX2" fmla="*/ 4665472 w 4665472"/>
                <a:gd name="connsiteY2" fmla="*/ 4064 h 1036320"/>
                <a:gd name="connsiteX3" fmla="*/ 0 w 4665472"/>
                <a:gd name="connsiteY3" fmla="*/ 0 h 1036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65472" h="1036320">
                  <a:moveTo>
                    <a:pt x="0" y="0"/>
                  </a:moveTo>
                  <a:lnTo>
                    <a:pt x="231648" y="1036320"/>
                  </a:lnTo>
                  <a:lnTo>
                    <a:pt x="4665472" y="40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F8779A0-B0FF-4C21-BABB-4F02E5D74F6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4C7D7D-53EA-4ECC-B833-87968F4A84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E0E0C25-96EB-4DA7-8449-811E03DA83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95400" y="1844824"/>
            <a:ext cx="7560000" cy="4176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E6E6BA02-16FD-47F5-91FE-F4AF62815B5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8616640" y="1844824"/>
            <a:ext cx="3240000" cy="3167559"/>
          </a:xfrm>
          <a:solidFill>
            <a:srgbClr val="DCDCDC"/>
          </a:solidFill>
          <a:ln w="12700">
            <a:noFill/>
          </a:ln>
        </p:spPr>
        <p:txBody>
          <a:bodyPr/>
          <a:lstStyle>
            <a:lvl1pPr>
              <a:lnSpc>
                <a:spcPct val="100000"/>
              </a:lnSpc>
              <a:defRPr sz="1800" b="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B378227F-A9D1-43C8-A20F-99AB5E18464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324746" y="123360"/>
            <a:ext cx="6336000" cy="380104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5907128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Bild 02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70EC369-A260-44CE-88B8-A9B8140565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94669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70EC369-A260-44CE-88B8-A9B8140565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57A6501-2E26-4D0D-A6F9-21C7690BFFF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BA27E791-4607-459E-BFFF-EB0F2025FD50}"/>
              </a:ext>
            </a:extLst>
          </p:cNvPr>
          <p:cNvGrpSpPr/>
          <p:nvPr userDrawn="1"/>
        </p:nvGrpSpPr>
        <p:grpSpPr bwMode="gray">
          <a:xfrm>
            <a:off x="335360" y="0"/>
            <a:ext cx="7488000" cy="1381760"/>
            <a:chOff x="266132" y="0"/>
            <a:chExt cx="5616000" cy="1036320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9D6EB764-9AED-407A-9EEC-622A83D60B76}"/>
                </a:ext>
              </a:extLst>
            </p:cNvPr>
            <p:cNvSpPr/>
            <p:nvPr/>
          </p:nvSpPr>
          <p:spPr bwMode="gray">
            <a:xfrm>
              <a:off x="266132" y="0"/>
              <a:ext cx="5616000" cy="472881"/>
            </a:xfrm>
            <a:prstGeom prst="rect">
              <a:avLst/>
            </a:pr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dirty="0"/>
            </a:p>
          </p:txBody>
        </p:sp>
        <p:sp>
          <p:nvSpPr>
            <p:cNvPr id="22" name="Freihandform 14">
              <a:extLst>
                <a:ext uri="{FF2B5EF4-FFF2-40B4-BE49-F238E27FC236}">
                  <a16:creationId xmlns:a16="http://schemas.microsoft.com/office/drawing/2014/main" id="{4EC49CB3-1A79-4CEC-A709-1A2F26F7DB65}"/>
                </a:ext>
              </a:extLst>
            </p:cNvPr>
            <p:cNvSpPr/>
            <p:nvPr/>
          </p:nvSpPr>
          <p:spPr bwMode="gray">
            <a:xfrm>
              <a:off x="796544" y="0"/>
              <a:ext cx="4665472" cy="1036320"/>
            </a:xfrm>
            <a:custGeom>
              <a:avLst/>
              <a:gdLst>
                <a:gd name="connsiteX0" fmla="*/ 0 w 4665472"/>
                <a:gd name="connsiteY0" fmla="*/ 0 h 1036320"/>
                <a:gd name="connsiteX1" fmla="*/ 231648 w 4665472"/>
                <a:gd name="connsiteY1" fmla="*/ 1036320 h 1036320"/>
                <a:gd name="connsiteX2" fmla="*/ 4665472 w 4665472"/>
                <a:gd name="connsiteY2" fmla="*/ 4064 h 1036320"/>
                <a:gd name="connsiteX3" fmla="*/ 0 w 4665472"/>
                <a:gd name="connsiteY3" fmla="*/ 0 h 1036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65472" h="1036320">
                  <a:moveTo>
                    <a:pt x="0" y="0"/>
                  </a:moveTo>
                  <a:lnTo>
                    <a:pt x="231648" y="1036320"/>
                  </a:lnTo>
                  <a:lnTo>
                    <a:pt x="4665472" y="40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F8779A0-B0FF-4C21-BABB-4F02E5D74F6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4C7D7D-53EA-4ECC-B833-87968F4A84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E0E0C25-96EB-4DA7-8449-811E03DA83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95400" y="1844824"/>
            <a:ext cx="5508000" cy="4176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E6E6BA02-16FD-47F5-91FE-F4AF62815B5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6564052" y="1844824"/>
            <a:ext cx="5292000" cy="3167559"/>
          </a:xfrm>
          <a:solidFill>
            <a:srgbClr val="DCDCDC"/>
          </a:solidFill>
          <a:ln w="12700">
            <a:noFill/>
          </a:ln>
        </p:spPr>
        <p:txBody>
          <a:bodyPr/>
          <a:lstStyle>
            <a:lvl1pPr>
              <a:lnSpc>
                <a:spcPct val="100000"/>
              </a:lnSpc>
              <a:defRPr sz="1800" b="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1D3A196-EC48-4508-9945-F8EA050616C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324746" y="123360"/>
            <a:ext cx="6336000" cy="380104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8322788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zwei Bilder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70EC369-A260-44CE-88B8-A9B8140565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0140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70EC369-A260-44CE-88B8-A9B8140565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57A6501-2E26-4D0D-A6F9-21C7690BFFF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E6E6BA02-16FD-47F5-91FE-F4AF62815B5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334919" y="626825"/>
            <a:ext cx="7488000" cy="5394564"/>
          </a:xfrm>
          <a:solidFill>
            <a:srgbClr val="DCDCDC"/>
          </a:solidFill>
          <a:ln w="12700">
            <a:noFill/>
          </a:ln>
        </p:spPr>
        <p:txBody>
          <a:bodyPr/>
          <a:lstStyle>
            <a:lvl1pPr>
              <a:lnSpc>
                <a:spcPct val="100000"/>
              </a:lnSpc>
              <a:defRPr sz="1800" b="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F8779A0-B0FF-4C21-BABB-4F02E5D74F6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4C7D7D-53EA-4ECC-B833-87968F4A84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E0E0C25-96EB-4DA7-8449-811E03DA83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8184120" y="4509288"/>
            <a:ext cx="3672000" cy="1512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Bildplatzhalter 7">
            <a:extLst>
              <a:ext uri="{FF2B5EF4-FFF2-40B4-BE49-F238E27FC236}">
                <a16:creationId xmlns:a16="http://schemas.microsoft.com/office/drawing/2014/main" id="{1B81A0A2-5BB2-4205-8498-FA6DD272360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8183768" y="1844825"/>
            <a:ext cx="3672000" cy="2518290"/>
          </a:xfrm>
          <a:solidFill>
            <a:srgbClr val="DCDCDC"/>
          </a:solidFill>
          <a:ln w="12700">
            <a:noFill/>
          </a:ln>
        </p:spPr>
        <p:txBody>
          <a:bodyPr/>
          <a:lstStyle>
            <a:lvl1pPr>
              <a:lnSpc>
                <a:spcPct val="100000"/>
              </a:lnSpc>
              <a:defRPr sz="1800" b="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75EA5E90-A9B7-434F-A56E-8FA9AA92BAFA}"/>
              </a:ext>
            </a:extLst>
          </p:cNvPr>
          <p:cNvSpPr/>
          <p:nvPr/>
        </p:nvSpPr>
        <p:spPr bwMode="gray">
          <a:xfrm>
            <a:off x="335360" y="0"/>
            <a:ext cx="7488000" cy="630508"/>
          </a:xfrm>
          <a:prstGeom prst="rect">
            <a:avLst/>
          </a:prstGeom>
          <a:solidFill>
            <a:srgbClr val="FF8C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53351D97-F7DF-45E0-B610-E3F3CAF3D5B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042577" y="0"/>
            <a:ext cx="6220629" cy="1381760"/>
          </a:xfrm>
          <a:custGeom>
            <a:avLst/>
            <a:gdLst>
              <a:gd name="connsiteX0" fmla="*/ 0 w 6220629"/>
              <a:gd name="connsiteY0" fmla="*/ 0 h 1381760"/>
              <a:gd name="connsiteX1" fmla="*/ 6220629 w 6220629"/>
              <a:gd name="connsiteY1" fmla="*/ 5419 h 1381760"/>
              <a:gd name="connsiteX2" fmla="*/ 308864 w 6220629"/>
              <a:gd name="connsiteY2" fmla="*/ 1381760 h 13817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220629" h="1381760">
                <a:moveTo>
                  <a:pt x="0" y="0"/>
                </a:moveTo>
                <a:lnTo>
                  <a:pt x="6220629" y="5419"/>
                </a:lnTo>
                <a:lnTo>
                  <a:pt x="308864" y="1381760"/>
                </a:lnTo>
                <a:close/>
              </a:path>
            </a:pathLst>
          </a:custGeom>
          <a:solidFill>
            <a:srgbClr val="FF8C00">
              <a:alpha val="80000"/>
            </a:srgbClr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4EDD9FC-6A21-4E23-BFAA-300CF420CCEF}"/>
              </a:ext>
            </a:extLst>
          </p:cNvPr>
          <p:cNvSpPr>
            <a:spLocks noGrp="1"/>
          </p:cNvSpPr>
          <p:nvPr userDrawn="1">
            <p:ph type="title"/>
          </p:nvPr>
        </p:nvSpPr>
        <p:spPr bwMode="gray">
          <a:xfrm>
            <a:off x="1324746" y="123360"/>
            <a:ext cx="6335997" cy="380104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9725144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01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ihandform 11">
            <a:extLst>
              <a:ext uri="{FF2B5EF4-FFF2-40B4-BE49-F238E27FC236}">
                <a16:creationId xmlns:a16="http://schemas.microsoft.com/office/drawing/2014/main" id="{345B8CC5-06C1-472D-9579-229E85ACF8E4}"/>
              </a:ext>
            </a:extLst>
          </p:cNvPr>
          <p:cNvSpPr/>
          <p:nvPr userDrawn="1"/>
        </p:nvSpPr>
        <p:spPr bwMode="gray">
          <a:xfrm>
            <a:off x="144780" y="-7619"/>
            <a:ext cx="9357360" cy="4076700"/>
          </a:xfrm>
          <a:custGeom>
            <a:avLst/>
            <a:gdLst>
              <a:gd name="connsiteX0" fmla="*/ 0 w 7018020"/>
              <a:gd name="connsiteY0" fmla="*/ 0 h 3057525"/>
              <a:gd name="connsiteX1" fmla="*/ 714375 w 7018020"/>
              <a:gd name="connsiteY1" fmla="*/ 3057525 h 3057525"/>
              <a:gd name="connsiteX2" fmla="*/ 7018020 w 7018020"/>
              <a:gd name="connsiteY2" fmla="*/ 1600200 h 3057525"/>
              <a:gd name="connsiteX3" fmla="*/ 6652260 w 7018020"/>
              <a:gd name="connsiteY3" fmla="*/ 5715 h 3057525"/>
              <a:gd name="connsiteX4" fmla="*/ 0 w 7018020"/>
              <a:gd name="connsiteY4" fmla="*/ 0 h 3057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18020" h="3057525">
                <a:moveTo>
                  <a:pt x="0" y="0"/>
                </a:moveTo>
                <a:lnTo>
                  <a:pt x="714375" y="3057525"/>
                </a:lnTo>
                <a:lnTo>
                  <a:pt x="7018020" y="1600200"/>
                </a:lnTo>
                <a:lnTo>
                  <a:pt x="6652260" y="5715"/>
                </a:lnTo>
                <a:lnTo>
                  <a:pt x="0" y="0"/>
                </a:lnTo>
                <a:close/>
              </a:path>
            </a:pathLst>
          </a:custGeom>
          <a:solidFill>
            <a:srgbClr val="FF8C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C178B517-5906-4BB1-B0FC-C8DC054AAF36}"/>
              </a:ext>
            </a:extLst>
          </p:cNvPr>
          <p:cNvSpPr/>
          <p:nvPr userDrawn="1"/>
        </p:nvSpPr>
        <p:spPr bwMode="gray">
          <a:xfrm>
            <a:off x="-5" y="0"/>
            <a:ext cx="8640445" cy="3217547"/>
          </a:xfrm>
          <a:prstGeom prst="rect">
            <a:avLst/>
          </a:prstGeom>
          <a:solidFill>
            <a:srgbClr val="FF8C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4EFD84D-7620-4378-B33F-72E1F06AAE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15837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F6FBC020-F7BC-491F-A515-7633C9383B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8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31996BA-DEBA-4422-8751-889EF72798A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960000" y="1345624"/>
            <a:ext cx="7416000" cy="526298"/>
          </a:xfrm>
        </p:spPr>
        <p:txBody>
          <a:bodyPr anchor="ctr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9DAC5A5B-2679-4974-BA5D-19265FF288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0000" y="5079957"/>
            <a:ext cx="4356000" cy="307777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2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buNone/>
              <a:defRPr sz="22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buNone/>
              <a:defRPr sz="22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buNone/>
              <a:defRPr sz="22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Kolpingsfamilie Beispielhausen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E94ABF0D-D15C-4EE3-B3EB-0D61FAD821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960000" y="5432738"/>
            <a:ext cx="4356000" cy="307777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20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2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buNone/>
              <a:defRPr sz="22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buNone/>
              <a:defRPr sz="22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buNone/>
              <a:defRPr sz="2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T. Monat 20XX</a:t>
            </a:r>
          </a:p>
        </p:txBody>
      </p:sp>
      <p:sp>
        <p:nvSpPr>
          <p:cNvPr id="14" name="Textplatzhalter 10">
            <a:extLst>
              <a:ext uri="{FF2B5EF4-FFF2-40B4-BE49-F238E27FC236}">
                <a16:creationId xmlns:a16="http://schemas.microsoft.com/office/drawing/2014/main" id="{51848211-9774-4D0C-9DA2-0F501977F52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960000" y="5785519"/>
            <a:ext cx="4356000" cy="307777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20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2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buNone/>
              <a:defRPr sz="22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buNone/>
              <a:defRPr sz="22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buNone/>
              <a:defRPr sz="2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Name, Funktion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78A93654-10BB-4A8A-A13A-AE02708FB69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9831968" y="5045190"/>
            <a:ext cx="1664632" cy="1084110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B332A760-F96E-4E17-A4F1-960D042AD85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705262" y="1423349"/>
            <a:ext cx="1925736" cy="1910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151513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drei Bilder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70EC369-A260-44CE-88B8-A9B8140565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9753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70EC369-A260-44CE-88B8-A9B8140565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57A6501-2E26-4D0D-A6F9-21C7690BFFF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D84EC313-9395-437A-901B-B57F2C1A1CFC}"/>
              </a:ext>
            </a:extLst>
          </p:cNvPr>
          <p:cNvGrpSpPr/>
          <p:nvPr userDrawn="1"/>
        </p:nvGrpSpPr>
        <p:grpSpPr bwMode="gray">
          <a:xfrm>
            <a:off x="335360" y="0"/>
            <a:ext cx="7488000" cy="1381760"/>
            <a:chOff x="266132" y="0"/>
            <a:chExt cx="5616000" cy="1036320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65D3BE8F-3677-4FE3-93B3-2603FEBDD14E}"/>
                </a:ext>
              </a:extLst>
            </p:cNvPr>
            <p:cNvSpPr/>
            <p:nvPr/>
          </p:nvSpPr>
          <p:spPr bwMode="gray">
            <a:xfrm>
              <a:off x="266132" y="0"/>
              <a:ext cx="5616000" cy="472881"/>
            </a:xfrm>
            <a:prstGeom prst="rect">
              <a:avLst/>
            </a:pr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dirty="0"/>
            </a:p>
          </p:txBody>
        </p:sp>
        <p:sp>
          <p:nvSpPr>
            <p:cNvPr id="16" name="Freihandform 14">
              <a:extLst>
                <a:ext uri="{FF2B5EF4-FFF2-40B4-BE49-F238E27FC236}">
                  <a16:creationId xmlns:a16="http://schemas.microsoft.com/office/drawing/2014/main" id="{B62B9C36-BB7B-4A96-8DE7-FAA89E134004}"/>
                </a:ext>
              </a:extLst>
            </p:cNvPr>
            <p:cNvSpPr/>
            <p:nvPr/>
          </p:nvSpPr>
          <p:spPr bwMode="gray">
            <a:xfrm>
              <a:off x="796544" y="0"/>
              <a:ext cx="4665472" cy="1036320"/>
            </a:xfrm>
            <a:custGeom>
              <a:avLst/>
              <a:gdLst>
                <a:gd name="connsiteX0" fmla="*/ 0 w 4665472"/>
                <a:gd name="connsiteY0" fmla="*/ 0 h 1036320"/>
                <a:gd name="connsiteX1" fmla="*/ 231648 w 4665472"/>
                <a:gd name="connsiteY1" fmla="*/ 1036320 h 1036320"/>
                <a:gd name="connsiteX2" fmla="*/ 4665472 w 4665472"/>
                <a:gd name="connsiteY2" fmla="*/ 4064 h 1036320"/>
                <a:gd name="connsiteX3" fmla="*/ 0 w 4665472"/>
                <a:gd name="connsiteY3" fmla="*/ 0 h 1036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65472" h="1036320">
                  <a:moveTo>
                    <a:pt x="0" y="0"/>
                  </a:moveTo>
                  <a:lnTo>
                    <a:pt x="231648" y="1036320"/>
                  </a:lnTo>
                  <a:lnTo>
                    <a:pt x="4665472" y="40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F8779A0-B0FF-4C21-BABB-4F02E5D74F6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4C7D7D-53EA-4ECC-B833-87968F4A84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E0E0C25-96EB-4DA7-8449-811E03DA83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95400" y="1844824"/>
            <a:ext cx="11160000" cy="4176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Bildplatzhalter 7">
            <a:extLst>
              <a:ext uri="{FF2B5EF4-FFF2-40B4-BE49-F238E27FC236}">
                <a16:creationId xmlns:a16="http://schemas.microsoft.com/office/drawing/2014/main" id="{6676BE9F-0E1E-4A5B-B76B-49DCDEEDC99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7105987" y="3977283"/>
            <a:ext cx="1508143" cy="2044005"/>
          </a:xfrm>
          <a:solidFill>
            <a:srgbClr val="DCDCDC"/>
          </a:solidFill>
          <a:ln w="12700">
            <a:noFill/>
          </a:ln>
        </p:spPr>
        <p:txBody>
          <a:bodyPr/>
          <a:lstStyle>
            <a:lvl1pPr>
              <a:lnSpc>
                <a:spcPct val="100000"/>
              </a:lnSpc>
              <a:defRPr sz="1800" b="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595F7FA4-3B0A-4F9C-A5F3-5210252369D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8727242" y="3977283"/>
            <a:ext cx="1508143" cy="2044005"/>
          </a:xfrm>
          <a:solidFill>
            <a:srgbClr val="DCDCDC"/>
          </a:solidFill>
          <a:ln w="12700">
            <a:noFill/>
          </a:ln>
        </p:spPr>
        <p:txBody>
          <a:bodyPr/>
          <a:lstStyle>
            <a:lvl1pPr>
              <a:lnSpc>
                <a:spcPct val="100000"/>
              </a:lnSpc>
              <a:defRPr sz="1800" b="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12" name="Bildplatzhalter 7">
            <a:extLst>
              <a:ext uri="{FF2B5EF4-FFF2-40B4-BE49-F238E27FC236}">
                <a16:creationId xmlns:a16="http://schemas.microsoft.com/office/drawing/2014/main" id="{5F9FD67C-EBBC-4FAB-B820-EF8DC86C9F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10348497" y="3977283"/>
            <a:ext cx="1508143" cy="2044005"/>
          </a:xfrm>
          <a:solidFill>
            <a:srgbClr val="DCDCDC"/>
          </a:solidFill>
          <a:ln w="12700">
            <a:noFill/>
          </a:ln>
        </p:spPr>
        <p:txBody>
          <a:bodyPr/>
          <a:lstStyle>
            <a:lvl1pPr>
              <a:lnSpc>
                <a:spcPct val="100000"/>
              </a:lnSpc>
              <a:defRPr sz="1800" b="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584B0EFB-3083-43D3-8389-2D02165DB41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324746" y="123360"/>
            <a:ext cx="6336000" cy="380104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7180605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Diagramm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8486C6F-27DB-4D63-891E-B5FB0A7C8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7797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8486C6F-27DB-4D63-891E-B5FB0A7C8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E7B295ED-4258-4CB1-822E-55597AFAEA4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113000"/>
              </a:lnSpc>
              <a:buFontTx/>
              <a:buNone/>
            </a:pPr>
            <a:endParaRPr lang="de-DE" sz="2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18EFCB53-0B43-438C-8DC9-286E74C2EB4D}"/>
              </a:ext>
            </a:extLst>
          </p:cNvPr>
          <p:cNvGrpSpPr/>
          <p:nvPr userDrawn="1"/>
        </p:nvGrpSpPr>
        <p:grpSpPr bwMode="gray">
          <a:xfrm>
            <a:off x="335360" y="0"/>
            <a:ext cx="7488000" cy="1381760"/>
            <a:chOff x="266132" y="0"/>
            <a:chExt cx="5616000" cy="1036320"/>
          </a:xfrm>
        </p:grpSpPr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2B261B18-762C-44A2-8819-A8D51F0398FA}"/>
                </a:ext>
              </a:extLst>
            </p:cNvPr>
            <p:cNvSpPr/>
            <p:nvPr/>
          </p:nvSpPr>
          <p:spPr bwMode="gray">
            <a:xfrm>
              <a:off x="266132" y="0"/>
              <a:ext cx="5616000" cy="472881"/>
            </a:xfrm>
            <a:prstGeom prst="rect">
              <a:avLst/>
            </a:pr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dirty="0"/>
            </a:p>
          </p:txBody>
        </p:sp>
        <p:sp>
          <p:nvSpPr>
            <p:cNvPr id="20" name="Freihandform 14">
              <a:extLst>
                <a:ext uri="{FF2B5EF4-FFF2-40B4-BE49-F238E27FC236}">
                  <a16:creationId xmlns:a16="http://schemas.microsoft.com/office/drawing/2014/main" id="{EE45A46B-CA63-4F78-A4F9-A3E3B02C5A9A}"/>
                </a:ext>
              </a:extLst>
            </p:cNvPr>
            <p:cNvSpPr/>
            <p:nvPr/>
          </p:nvSpPr>
          <p:spPr bwMode="gray">
            <a:xfrm>
              <a:off x="796544" y="0"/>
              <a:ext cx="4665472" cy="1036320"/>
            </a:xfrm>
            <a:custGeom>
              <a:avLst/>
              <a:gdLst>
                <a:gd name="connsiteX0" fmla="*/ 0 w 4665472"/>
                <a:gd name="connsiteY0" fmla="*/ 0 h 1036320"/>
                <a:gd name="connsiteX1" fmla="*/ 231648 w 4665472"/>
                <a:gd name="connsiteY1" fmla="*/ 1036320 h 1036320"/>
                <a:gd name="connsiteX2" fmla="*/ 4665472 w 4665472"/>
                <a:gd name="connsiteY2" fmla="*/ 4064 h 1036320"/>
                <a:gd name="connsiteX3" fmla="*/ 0 w 4665472"/>
                <a:gd name="connsiteY3" fmla="*/ 0 h 1036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65472" h="1036320">
                  <a:moveTo>
                    <a:pt x="0" y="0"/>
                  </a:moveTo>
                  <a:lnTo>
                    <a:pt x="231648" y="1036320"/>
                  </a:lnTo>
                  <a:lnTo>
                    <a:pt x="4665472" y="40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A976E7E-66B6-47D2-9D7B-80700ADEF6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5DB896E-51FE-4379-A762-A8C1C810C5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Diagrammplatzhalter 8">
            <a:extLst>
              <a:ext uri="{FF2B5EF4-FFF2-40B4-BE49-F238E27FC236}">
                <a16:creationId xmlns:a16="http://schemas.microsoft.com/office/drawing/2014/main" id="{CD41A8D7-9ABF-41A5-AC31-A96D184ED173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 bwMode="gray">
          <a:xfrm>
            <a:off x="695399" y="2456892"/>
            <a:ext cx="11160000" cy="3384000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27A6E15E-46AD-46B0-969F-DE0E7F4B7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95325" y="2168860"/>
            <a:ext cx="11160000" cy="217047"/>
          </a:xfrm>
        </p:spPr>
        <p:txBody>
          <a:bodyPr wrap="square">
            <a:spAutoFit/>
          </a:bodyPr>
          <a:lstStyle>
            <a:lvl1pPr marL="0" indent="0">
              <a:buFont typeface="Arial" panose="020B0604020202020204" pitchFamily="34" charset="0"/>
              <a:buNone/>
              <a:defRPr sz="1400" b="0" spc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Platzhalter für die Werteinheit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0F476CC0-3C2A-432C-BD82-AF2D720B63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95325" y="5888879"/>
            <a:ext cx="11160000" cy="132409"/>
          </a:xfrm>
        </p:spPr>
        <p:txBody>
          <a:bodyPr wrap="square" anchor="b">
            <a:spAutoFit/>
          </a:bodyPr>
          <a:lstStyle>
            <a:lvl1pPr marL="0" indent="0">
              <a:buFont typeface="Arial" panose="020B0604020202020204" pitchFamily="34" charset="0"/>
              <a:buNone/>
              <a:defRPr sz="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800" b="0">
                <a:solidFill>
                  <a:schemeClr val="tx1"/>
                </a:solidFill>
              </a:defRPr>
            </a:lvl2pPr>
            <a:lvl3pPr marL="0" indent="0">
              <a:buNone/>
              <a:defRPr sz="800" b="0">
                <a:solidFill>
                  <a:schemeClr val="tx1"/>
                </a:solidFill>
              </a:defRPr>
            </a:lvl3pPr>
            <a:lvl4pPr marL="0" indent="0">
              <a:buNone/>
              <a:defRPr sz="800" b="0">
                <a:solidFill>
                  <a:schemeClr val="tx1"/>
                </a:solidFill>
              </a:defRPr>
            </a:lvl4pPr>
            <a:lvl5pPr marL="0" indent="0">
              <a:buNone/>
              <a:defRPr sz="8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Platzhalter für eine Quellenangabe</a:t>
            </a:r>
            <a:endParaRPr lang="de-DE" dirty="0"/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7B327A21-630C-4CEB-888F-978CF15643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325" y="1844824"/>
            <a:ext cx="11160000" cy="279051"/>
          </a:xfrm>
        </p:spPr>
        <p:txBody>
          <a:bodyPr wrap="square">
            <a:spAutoFit/>
          </a:bodyPr>
          <a:lstStyle>
            <a:lvl1pPr marL="0" indent="0">
              <a:buFont typeface="Arial" panose="020B0604020202020204" pitchFamily="34" charset="0"/>
              <a:buNone/>
              <a:defRPr sz="1800" b="1" spc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2000" b="1">
                <a:solidFill>
                  <a:schemeClr val="tx2"/>
                </a:solidFill>
              </a:defRPr>
            </a:lvl2pPr>
            <a:lvl3pPr marL="0" indent="0">
              <a:buNone/>
              <a:defRPr sz="2000" b="1">
                <a:solidFill>
                  <a:schemeClr val="tx2"/>
                </a:solidFill>
              </a:defRPr>
            </a:lvl3pPr>
            <a:lvl4pPr marL="0" indent="0">
              <a:buNone/>
              <a:defRPr sz="2000" b="1">
                <a:solidFill>
                  <a:schemeClr val="tx2"/>
                </a:solidFill>
              </a:defRPr>
            </a:lvl4pPr>
            <a:lvl5pPr marL="0" indent="0">
              <a:buNone/>
              <a:defRPr sz="2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Platzhalter für den Diagrammtitel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59EF54AA-E088-4B44-BA58-B38E4D57B05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855382" y="327932"/>
            <a:ext cx="1017525" cy="662674"/>
          </a:xfrm>
          <a:prstGeom prst="rect">
            <a:avLst/>
          </a:prstGeom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FF9F5485-5417-4A16-9E73-3F5CBEDF27D9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323975" y="123360"/>
            <a:ext cx="6337300" cy="380104"/>
          </a:xfrm>
        </p:spPr>
        <p:txBody>
          <a:bodyPr anchor="ctr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88F550FD-4E5E-444E-9520-58B44F17FB1B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35360" y="6317458"/>
            <a:ext cx="11520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34848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zwei Diagramme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4C90CAB-6876-44AE-9D19-94C1931837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20946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4C90CAB-6876-44AE-9D19-94C1931837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2AF3E650-8E5B-44D8-84E6-4FF463C2F44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113000"/>
              </a:lnSpc>
              <a:buFontTx/>
              <a:buNone/>
            </a:pPr>
            <a:endParaRPr lang="de-DE" sz="2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A976E7E-66B6-47D2-9D7B-80700ADEF6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5DB896E-51FE-4379-A762-A8C1C810C5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4" name="Diagrammplatzhalter 8">
            <a:extLst>
              <a:ext uri="{FF2B5EF4-FFF2-40B4-BE49-F238E27FC236}">
                <a16:creationId xmlns:a16="http://schemas.microsoft.com/office/drawing/2014/main" id="{1B9B64F8-94AE-4D2E-A621-06313D4A0CD8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 bwMode="gray">
          <a:xfrm>
            <a:off x="695398" y="2456892"/>
            <a:ext cx="5292000" cy="3384000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06B01C08-025F-45EF-87DC-2FBA59C16CD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95324" y="2168860"/>
            <a:ext cx="5292000" cy="217047"/>
          </a:xfrm>
        </p:spPr>
        <p:txBody>
          <a:bodyPr wrap="square">
            <a:spAutoFit/>
          </a:bodyPr>
          <a:lstStyle>
            <a:lvl1pPr marL="0" indent="0">
              <a:buFont typeface="Arial" panose="020B0604020202020204" pitchFamily="34" charset="0"/>
              <a:buNone/>
              <a:defRPr sz="1400" b="0" spc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Platzhalter für die Werteinheit</a:t>
            </a:r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5939E0F3-DA9E-4F63-8468-F49D74ACF07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95324" y="5897215"/>
            <a:ext cx="5292000" cy="124073"/>
          </a:xfrm>
        </p:spPr>
        <p:txBody>
          <a:bodyPr wrap="square" anchor="b">
            <a:spAutoFit/>
          </a:bodyPr>
          <a:lstStyle>
            <a:lvl1pPr marL="0" indent="0">
              <a:buFont typeface="Arial" panose="020B0604020202020204" pitchFamily="34" charset="0"/>
              <a:buNone/>
              <a:defRPr sz="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800" b="0">
                <a:solidFill>
                  <a:schemeClr val="tx1"/>
                </a:solidFill>
              </a:defRPr>
            </a:lvl2pPr>
            <a:lvl3pPr marL="0" indent="0">
              <a:buNone/>
              <a:defRPr sz="800" b="0">
                <a:solidFill>
                  <a:schemeClr val="tx1"/>
                </a:solidFill>
              </a:defRPr>
            </a:lvl3pPr>
            <a:lvl4pPr marL="0" indent="0">
              <a:buNone/>
              <a:defRPr sz="800" b="0">
                <a:solidFill>
                  <a:schemeClr val="tx1"/>
                </a:solidFill>
              </a:defRPr>
            </a:lvl4pPr>
            <a:lvl5pPr marL="0" indent="0">
              <a:buNone/>
              <a:defRPr sz="8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Platzhalter für eine Quellenangabe</a:t>
            </a:r>
            <a:endParaRPr lang="de-DE" dirty="0"/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A31FDE6A-7D70-4CAD-8848-1B1E4ABC00B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324" y="1844824"/>
            <a:ext cx="5292000" cy="279051"/>
          </a:xfrm>
        </p:spPr>
        <p:txBody>
          <a:bodyPr wrap="square">
            <a:spAutoFit/>
          </a:bodyPr>
          <a:lstStyle>
            <a:lvl1pPr marL="0" indent="0">
              <a:buFont typeface="Arial" panose="020B0604020202020204" pitchFamily="34" charset="0"/>
              <a:buNone/>
              <a:defRPr sz="1800" b="1" spc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2000" b="1">
                <a:solidFill>
                  <a:schemeClr val="tx2"/>
                </a:solidFill>
              </a:defRPr>
            </a:lvl2pPr>
            <a:lvl3pPr marL="0" indent="0">
              <a:buNone/>
              <a:defRPr sz="2000" b="1">
                <a:solidFill>
                  <a:schemeClr val="tx2"/>
                </a:solidFill>
              </a:defRPr>
            </a:lvl3pPr>
            <a:lvl4pPr marL="0" indent="0">
              <a:buNone/>
              <a:defRPr sz="2000" b="1">
                <a:solidFill>
                  <a:schemeClr val="tx2"/>
                </a:solidFill>
              </a:defRPr>
            </a:lvl4pPr>
            <a:lvl5pPr marL="0" indent="0">
              <a:buNone/>
              <a:defRPr sz="2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Platzhalter für den Diagrammtitel</a:t>
            </a:r>
          </a:p>
        </p:txBody>
      </p:sp>
      <p:sp>
        <p:nvSpPr>
          <p:cNvPr id="18" name="Diagrammplatzhalter 8">
            <a:extLst>
              <a:ext uri="{FF2B5EF4-FFF2-40B4-BE49-F238E27FC236}">
                <a16:creationId xmlns:a16="http://schemas.microsoft.com/office/drawing/2014/main" id="{C66EF096-B96B-4341-A80D-292DF81D2A61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 bwMode="gray">
          <a:xfrm>
            <a:off x="6564127" y="2456892"/>
            <a:ext cx="5292000" cy="3384000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9434AE07-CCB5-420D-A9D4-3930A916F27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564053" y="2168860"/>
            <a:ext cx="5292000" cy="217047"/>
          </a:xfrm>
        </p:spPr>
        <p:txBody>
          <a:bodyPr wrap="square">
            <a:spAutoFit/>
          </a:bodyPr>
          <a:lstStyle>
            <a:lvl1pPr marL="0" indent="0">
              <a:buFont typeface="Arial" panose="020B0604020202020204" pitchFamily="34" charset="0"/>
              <a:buNone/>
              <a:defRPr sz="1400" b="0" spc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Platzhalter für die Werteinheit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E1D749AC-48A8-4A9E-90CD-D71DEB5555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564052" y="5897215"/>
            <a:ext cx="5292000" cy="124073"/>
          </a:xfrm>
        </p:spPr>
        <p:txBody>
          <a:bodyPr wrap="square" anchor="b">
            <a:spAutoFit/>
          </a:bodyPr>
          <a:lstStyle>
            <a:lvl1pPr marL="0" indent="0">
              <a:buFont typeface="Arial" panose="020B0604020202020204" pitchFamily="34" charset="0"/>
              <a:buNone/>
              <a:defRPr sz="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800" b="0">
                <a:solidFill>
                  <a:schemeClr val="tx1"/>
                </a:solidFill>
              </a:defRPr>
            </a:lvl2pPr>
            <a:lvl3pPr marL="0" indent="0">
              <a:buNone/>
              <a:defRPr sz="800" b="0">
                <a:solidFill>
                  <a:schemeClr val="tx1"/>
                </a:solidFill>
              </a:defRPr>
            </a:lvl3pPr>
            <a:lvl4pPr marL="0" indent="0">
              <a:buNone/>
              <a:defRPr sz="800" b="0">
                <a:solidFill>
                  <a:schemeClr val="tx1"/>
                </a:solidFill>
              </a:defRPr>
            </a:lvl4pPr>
            <a:lvl5pPr marL="0" indent="0">
              <a:buNone/>
              <a:defRPr sz="8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Platzhalter für eine Quellenangabe</a:t>
            </a:r>
            <a:endParaRPr lang="de-DE" dirty="0"/>
          </a:p>
        </p:txBody>
      </p:sp>
      <p:sp>
        <p:nvSpPr>
          <p:cNvPr id="21" name="Textplatzhalter 9">
            <a:extLst>
              <a:ext uri="{FF2B5EF4-FFF2-40B4-BE49-F238E27FC236}">
                <a16:creationId xmlns:a16="http://schemas.microsoft.com/office/drawing/2014/main" id="{846F28FA-AD22-411C-98C8-31C25125168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564053" y="1844824"/>
            <a:ext cx="5292000" cy="279051"/>
          </a:xfrm>
        </p:spPr>
        <p:txBody>
          <a:bodyPr wrap="square">
            <a:spAutoFit/>
          </a:bodyPr>
          <a:lstStyle>
            <a:lvl1pPr marL="0" indent="0">
              <a:buFont typeface="Arial" panose="020B0604020202020204" pitchFamily="34" charset="0"/>
              <a:buNone/>
              <a:defRPr sz="1800" b="1" spc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2000" b="1">
                <a:solidFill>
                  <a:schemeClr val="tx2"/>
                </a:solidFill>
              </a:defRPr>
            </a:lvl2pPr>
            <a:lvl3pPr marL="0" indent="0">
              <a:buNone/>
              <a:defRPr sz="2000" b="1">
                <a:solidFill>
                  <a:schemeClr val="tx2"/>
                </a:solidFill>
              </a:defRPr>
            </a:lvl3pPr>
            <a:lvl4pPr marL="0" indent="0">
              <a:buNone/>
              <a:defRPr sz="2000" b="1">
                <a:solidFill>
                  <a:schemeClr val="tx2"/>
                </a:solidFill>
              </a:defRPr>
            </a:lvl4pPr>
            <a:lvl5pPr marL="0" indent="0">
              <a:buNone/>
              <a:defRPr sz="2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Platzhalter für den Diagrammtitel</a:t>
            </a:r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28B1E8F4-9108-4ECD-A92F-8471A025B46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855382" y="327932"/>
            <a:ext cx="1017525" cy="662674"/>
          </a:xfrm>
          <a:prstGeom prst="rect">
            <a:avLst/>
          </a:prstGeom>
        </p:spPr>
      </p:pic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C77A0872-80FA-468C-ACD4-24ABC390B3AD}"/>
              </a:ext>
            </a:extLst>
          </p:cNvPr>
          <p:cNvGrpSpPr/>
          <p:nvPr userDrawn="1"/>
        </p:nvGrpSpPr>
        <p:grpSpPr bwMode="gray">
          <a:xfrm>
            <a:off x="335360" y="0"/>
            <a:ext cx="7488000" cy="1381760"/>
            <a:chOff x="266132" y="0"/>
            <a:chExt cx="5616000" cy="1036320"/>
          </a:xfrm>
        </p:grpSpPr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4E559D20-0D36-4CD1-B471-DF49C02F1773}"/>
                </a:ext>
              </a:extLst>
            </p:cNvPr>
            <p:cNvSpPr/>
            <p:nvPr/>
          </p:nvSpPr>
          <p:spPr bwMode="gray">
            <a:xfrm>
              <a:off x="266132" y="0"/>
              <a:ext cx="5616000" cy="472881"/>
            </a:xfrm>
            <a:prstGeom prst="rect">
              <a:avLst/>
            </a:pr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dirty="0"/>
            </a:p>
          </p:txBody>
        </p:sp>
        <p:sp>
          <p:nvSpPr>
            <p:cNvPr id="28" name="Freihandform 14">
              <a:extLst>
                <a:ext uri="{FF2B5EF4-FFF2-40B4-BE49-F238E27FC236}">
                  <a16:creationId xmlns:a16="http://schemas.microsoft.com/office/drawing/2014/main" id="{4C36A464-6CFB-42B9-AE5E-84507C24B31B}"/>
                </a:ext>
              </a:extLst>
            </p:cNvPr>
            <p:cNvSpPr/>
            <p:nvPr/>
          </p:nvSpPr>
          <p:spPr bwMode="gray">
            <a:xfrm>
              <a:off x="796544" y="0"/>
              <a:ext cx="4665472" cy="1036320"/>
            </a:xfrm>
            <a:custGeom>
              <a:avLst/>
              <a:gdLst>
                <a:gd name="connsiteX0" fmla="*/ 0 w 4665472"/>
                <a:gd name="connsiteY0" fmla="*/ 0 h 1036320"/>
                <a:gd name="connsiteX1" fmla="*/ 231648 w 4665472"/>
                <a:gd name="connsiteY1" fmla="*/ 1036320 h 1036320"/>
                <a:gd name="connsiteX2" fmla="*/ 4665472 w 4665472"/>
                <a:gd name="connsiteY2" fmla="*/ 4064 h 1036320"/>
                <a:gd name="connsiteX3" fmla="*/ 0 w 4665472"/>
                <a:gd name="connsiteY3" fmla="*/ 0 h 1036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65472" h="1036320">
                  <a:moveTo>
                    <a:pt x="0" y="0"/>
                  </a:moveTo>
                  <a:lnTo>
                    <a:pt x="231648" y="1036320"/>
                  </a:lnTo>
                  <a:lnTo>
                    <a:pt x="4665472" y="40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sp>
        <p:nvSpPr>
          <p:cNvPr id="7" name="Titel 6">
            <a:extLst>
              <a:ext uri="{FF2B5EF4-FFF2-40B4-BE49-F238E27FC236}">
                <a16:creationId xmlns:a16="http://schemas.microsoft.com/office/drawing/2014/main" id="{EDBD2D45-EFD0-46D1-A06F-52549844E3C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323975" y="123360"/>
            <a:ext cx="6337300" cy="380104"/>
          </a:xfrm>
        </p:spPr>
        <p:txBody>
          <a:bodyPr anchor="ctr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52B7E9AC-0580-4B2A-B496-34C65CD3854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35360" y="6317458"/>
            <a:ext cx="11520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64354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4BDD804C-F6BF-4159-8EF6-9DD51C7ADD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6126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4BDD804C-F6BF-4159-8EF6-9DD51C7ADD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9859744E-6BFE-497C-82B4-FBBA7B3F2A5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113000"/>
              </a:lnSpc>
              <a:buFontTx/>
              <a:buNone/>
            </a:pPr>
            <a:endParaRPr lang="de-DE" sz="2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5B559B05-5F89-409E-9B30-AD80C7C4AC50}"/>
              </a:ext>
            </a:extLst>
          </p:cNvPr>
          <p:cNvGrpSpPr/>
          <p:nvPr userDrawn="1"/>
        </p:nvGrpSpPr>
        <p:grpSpPr bwMode="gray">
          <a:xfrm>
            <a:off x="335360" y="0"/>
            <a:ext cx="7488000" cy="1381760"/>
            <a:chOff x="266132" y="0"/>
            <a:chExt cx="5616000" cy="1036320"/>
          </a:xfrm>
        </p:grpSpPr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00ECF00D-6507-4B70-9CE1-2C612503ADE5}"/>
                </a:ext>
              </a:extLst>
            </p:cNvPr>
            <p:cNvSpPr/>
            <p:nvPr/>
          </p:nvSpPr>
          <p:spPr bwMode="gray">
            <a:xfrm>
              <a:off x="266132" y="0"/>
              <a:ext cx="5616000" cy="472881"/>
            </a:xfrm>
            <a:prstGeom prst="rect">
              <a:avLst/>
            </a:pr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dirty="0"/>
            </a:p>
          </p:txBody>
        </p:sp>
        <p:sp>
          <p:nvSpPr>
            <p:cNvPr id="15" name="Freihandform 14">
              <a:extLst>
                <a:ext uri="{FF2B5EF4-FFF2-40B4-BE49-F238E27FC236}">
                  <a16:creationId xmlns:a16="http://schemas.microsoft.com/office/drawing/2014/main" id="{F02A859E-F934-4124-87E9-6C3CD4CDD2FB}"/>
                </a:ext>
              </a:extLst>
            </p:cNvPr>
            <p:cNvSpPr/>
            <p:nvPr/>
          </p:nvSpPr>
          <p:spPr bwMode="gray">
            <a:xfrm>
              <a:off x="796544" y="0"/>
              <a:ext cx="4665472" cy="1036320"/>
            </a:xfrm>
            <a:custGeom>
              <a:avLst/>
              <a:gdLst>
                <a:gd name="connsiteX0" fmla="*/ 0 w 4665472"/>
                <a:gd name="connsiteY0" fmla="*/ 0 h 1036320"/>
                <a:gd name="connsiteX1" fmla="*/ 231648 w 4665472"/>
                <a:gd name="connsiteY1" fmla="*/ 1036320 h 1036320"/>
                <a:gd name="connsiteX2" fmla="*/ 4665472 w 4665472"/>
                <a:gd name="connsiteY2" fmla="*/ 4064 h 1036320"/>
                <a:gd name="connsiteX3" fmla="*/ 0 w 4665472"/>
                <a:gd name="connsiteY3" fmla="*/ 0 h 1036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65472" h="1036320">
                  <a:moveTo>
                    <a:pt x="0" y="0"/>
                  </a:moveTo>
                  <a:lnTo>
                    <a:pt x="231648" y="1036320"/>
                  </a:lnTo>
                  <a:lnTo>
                    <a:pt x="4665472" y="40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63D8B59-CDFF-47E1-BD35-8A47228695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D48E52B-61A0-435C-AB12-EAE644826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D55A091D-95BC-4116-B785-E1149E76292C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324746" y="123360"/>
            <a:ext cx="6336000" cy="380104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FB89F753-7E79-4A1B-8C97-620D42FBB5F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855382" y="327932"/>
            <a:ext cx="1017525" cy="662674"/>
          </a:xfrm>
          <a:prstGeom prst="rect">
            <a:avLst/>
          </a:prstGeom>
        </p:spPr>
      </p:pic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23A11C9D-3AE7-42EA-9803-5CBE54251CA5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35360" y="6317458"/>
            <a:ext cx="11520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07436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70EC369-A260-44CE-88B8-A9B8140565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2705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70EC369-A260-44CE-88B8-A9B8140565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57A6501-2E26-4D0D-A6F9-21C7690BFFF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62FDF5C8-0012-40FC-8916-5C7AB49CD8D1}"/>
              </a:ext>
            </a:extLst>
          </p:cNvPr>
          <p:cNvGrpSpPr/>
          <p:nvPr userDrawn="1"/>
        </p:nvGrpSpPr>
        <p:grpSpPr bwMode="gray">
          <a:xfrm>
            <a:off x="335360" y="-8020"/>
            <a:ext cx="9502553" cy="2490944"/>
            <a:chOff x="260474" y="-6015"/>
            <a:chExt cx="7126915" cy="1868208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0B35C34D-2060-4B65-86C1-C920519FB86D}"/>
                </a:ext>
              </a:extLst>
            </p:cNvPr>
            <p:cNvSpPr/>
            <p:nvPr/>
          </p:nvSpPr>
          <p:spPr bwMode="gray">
            <a:xfrm>
              <a:off x="260474" y="-1"/>
              <a:ext cx="6480334" cy="1219839"/>
            </a:xfrm>
            <a:prstGeom prst="rect">
              <a:avLst/>
            </a:pr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13" name="Freihandform 38">
              <a:extLst>
                <a:ext uri="{FF2B5EF4-FFF2-40B4-BE49-F238E27FC236}">
                  <a16:creationId xmlns:a16="http://schemas.microsoft.com/office/drawing/2014/main" id="{B4F4EA0B-9075-4ACF-94C9-0EF6456B44CF}"/>
                </a:ext>
              </a:extLst>
            </p:cNvPr>
            <p:cNvSpPr/>
            <p:nvPr/>
          </p:nvSpPr>
          <p:spPr bwMode="gray">
            <a:xfrm>
              <a:off x="643689" y="-6015"/>
              <a:ext cx="6743700" cy="1868208"/>
            </a:xfrm>
            <a:custGeom>
              <a:avLst/>
              <a:gdLst>
                <a:gd name="connsiteX0" fmla="*/ 0 w 6743700"/>
                <a:gd name="connsiteY0" fmla="*/ 0 h 1864895"/>
                <a:gd name="connsiteX1" fmla="*/ 433137 w 6743700"/>
                <a:gd name="connsiteY1" fmla="*/ 1864895 h 1864895"/>
                <a:gd name="connsiteX2" fmla="*/ 6743700 w 6743700"/>
                <a:gd name="connsiteY2" fmla="*/ 415090 h 1864895"/>
                <a:gd name="connsiteX3" fmla="*/ 6647448 w 6743700"/>
                <a:gd name="connsiteY3" fmla="*/ 6016 h 1864895"/>
                <a:gd name="connsiteX4" fmla="*/ 0 w 6743700"/>
                <a:gd name="connsiteY4" fmla="*/ 0 h 1864895"/>
                <a:gd name="connsiteX0" fmla="*/ 0 w 6743700"/>
                <a:gd name="connsiteY0" fmla="*/ 0 h 1868208"/>
                <a:gd name="connsiteX1" fmla="*/ 429824 w 6743700"/>
                <a:gd name="connsiteY1" fmla="*/ 1868208 h 1868208"/>
                <a:gd name="connsiteX2" fmla="*/ 6743700 w 6743700"/>
                <a:gd name="connsiteY2" fmla="*/ 415090 h 1868208"/>
                <a:gd name="connsiteX3" fmla="*/ 6647448 w 6743700"/>
                <a:gd name="connsiteY3" fmla="*/ 6016 h 1868208"/>
                <a:gd name="connsiteX4" fmla="*/ 0 w 6743700"/>
                <a:gd name="connsiteY4" fmla="*/ 0 h 1868208"/>
                <a:gd name="connsiteX0" fmla="*/ 0 w 6743700"/>
                <a:gd name="connsiteY0" fmla="*/ 0 h 1868208"/>
                <a:gd name="connsiteX1" fmla="*/ 429824 w 6743700"/>
                <a:gd name="connsiteY1" fmla="*/ 1868208 h 1868208"/>
                <a:gd name="connsiteX2" fmla="*/ 6743700 w 6743700"/>
                <a:gd name="connsiteY2" fmla="*/ 418403 h 1868208"/>
                <a:gd name="connsiteX3" fmla="*/ 6647448 w 6743700"/>
                <a:gd name="connsiteY3" fmla="*/ 6016 h 1868208"/>
                <a:gd name="connsiteX4" fmla="*/ 0 w 6743700"/>
                <a:gd name="connsiteY4" fmla="*/ 0 h 1868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3700" h="1868208">
                  <a:moveTo>
                    <a:pt x="0" y="0"/>
                  </a:moveTo>
                  <a:lnTo>
                    <a:pt x="429824" y="1868208"/>
                  </a:lnTo>
                  <a:lnTo>
                    <a:pt x="6743700" y="418403"/>
                  </a:lnTo>
                  <a:lnTo>
                    <a:pt x="6647448" y="60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F8779A0-B0FF-4C21-BABB-4F02E5D74F6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4C7D7D-53EA-4ECC-B833-87968F4A84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E0E0C25-96EB-4DA7-8449-811E03DA83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95400" y="2924944"/>
            <a:ext cx="11160000" cy="3096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BF86CC5-67C9-4C2D-9EFB-EB02A80CCD0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324746" y="623173"/>
            <a:ext cx="7380000" cy="380104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6038335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42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Bild 02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70EC369-A260-44CE-88B8-A9B8140565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94472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70EC369-A260-44CE-88B8-A9B8140565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57A6501-2E26-4D0D-A6F9-21C7690BFFF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C9D3DB0B-3229-4FC5-802A-31749CC1F738}"/>
              </a:ext>
            </a:extLst>
          </p:cNvPr>
          <p:cNvGrpSpPr/>
          <p:nvPr userDrawn="1"/>
        </p:nvGrpSpPr>
        <p:grpSpPr bwMode="gray">
          <a:xfrm>
            <a:off x="335360" y="-8020"/>
            <a:ext cx="9502553" cy="2490944"/>
            <a:chOff x="260474" y="-6015"/>
            <a:chExt cx="7126915" cy="1868208"/>
          </a:xfrm>
        </p:grpSpPr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E77BE24C-3312-4F94-A2E8-DE7C894FCB90}"/>
                </a:ext>
              </a:extLst>
            </p:cNvPr>
            <p:cNvSpPr/>
            <p:nvPr/>
          </p:nvSpPr>
          <p:spPr bwMode="gray">
            <a:xfrm>
              <a:off x="260474" y="-1"/>
              <a:ext cx="6480334" cy="1219839"/>
            </a:xfrm>
            <a:prstGeom prst="rect">
              <a:avLst/>
            </a:pr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14" name="Freihandform 38">
              <a:extLst>
                <a:ext uri="{FF2B5EF4-FFF2-40B4-BE49-F238E27FC236}">
                  <a16:creationId xmlns:a16="http://schemas.microsoft.com/office/drawing/2014/main" id="{D99FEDAA-ADDC-418E-9B31-B8C07CA342FA}"/>
                </a:ext>
              </a:extLst>
            </p:cNvPr>
            <p:cNvSpPr/>
            <p:nvPr/>
          </p:nvSpPr>
          <p:spPr bwMode="gray">
            <a:xfrm>
              <a:off x="643689" y="-6015"/>
              <a:ext cx="6743700" cy="1868208"/>
            </a:xfrm>
            <a:custGeom>
              <a:avLst/>
              <a:gdLst>
                <a:gd name="connsiteX0" fmla="*/ 0 w 6743700"/>
                <a:gd name="connsiteY0" fmla="*/ 0 h 1864895"/>
                <a:gd name="connsiteX1" fmla="*/ 433137 w 6743700"/>
                <a:gd name="connsiteY1" fmla="*/ 1864895 h 1864895"/>
                <a:gd name="connsiteX2" fmla="*/ 6743700 w 6743700"/>
                <a:gd name="connsiteY2" fmla="*/ 415090 h 1864895"/>
                <a:gd name="connsiteX3" fmla="*/ 6647448 w 6743700"/>
                <a:gd name="connsiteY3" fmla="*/ 6016 h 1864895"/>
                <a:gd name="connsiteX4" fmla="*/ 0 w 6743700"/>
                <a:gd name="connsiteY4" fmla="*/ 0 h 1864895"/>
                <a:gd name="connsiteX0" fmla="*/ 0 w 6743700"/>
                <a:gd name="connsiteY0" fmla="*/ 0 h 1868208"/>
                <a:gd name="connsiteX1" fmla="*/ 429824 w 6743700"/>
                <a:gd name="connsiteY1" fmla="*/ 1868208 h 1868208"/>
                <a:gd name="connsiteX2" fmla="*/ 6743700 w 6743700"/>
                <a:gd name="connsiteY2" fmla="*/ 415090 h 1868208"/>
                <a:gd name="connsiteX3" fmla="*/ 6647448 w 6743700"/>
                <a:gd name="connsiteY3" fmla="*/ 6016 h 1868208"/>
                <a:gd name="connsiteX4" fmla="*/ 0 w 6743700"/>
                <a:gd name="connsiteY4" fmla="*/ 0 h 1868208"/>
                <a:gd name="connsiteX0" fmla="*/ 0 w 6743700"/>
                <a:gd name="connsiteY0" fmla="*/ 0 h 1868208"/>
                <a:gd name="connsiteX1" fmla="*/ 429824 w 6743700"/>
                <a:gd name="connsiteY1" fmla="*/ 1868208 h 1868208"/>
                <a:gd name="connsiteX2" fmla="*/ 6743700 w 6743700"/>
                <a:gd name="connsiteY2" fmla="*/ 418403 h 1868208"/>
                <a:gd name="connsiteX3" fmla="*/ 6647448 w 6743700"/>
                <a:gd name="connsiteY3" fmla="*/ 6016 h 1868208"/>
                <a:gd name="connsiteX4" fmla="*/ 0 w 6743700"/>
                <a:gd name="connsiteY4" fmla="*/ 0 h 1868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3700" h="1868208">
                  <a:moveTo>
                    <a:pt x="0" y="0"/>
                  </a:moveTo>
                  <a:lnTo>
                    <a:pt x="429824" y="1868208"/>
                  </a:lnTo>
                  <a:lnTo>
                    <a:pt x="6743700" y="418403"/>
                  </a:lnTo>
                  <a:lnTo>
                    <a:pt x="6647448" y="60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F8779A0-B0FF-4C21-BABB-4F02E5D74F6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4C7D7D-53EA-4ECC-B833-87968F4A84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E0E0C25-96EB-4DA7-8449-811E03DA83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95400" y="2924175"/>
            <a:ext cx="5508000" cy="309664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E6E6BA02-16FD-47F5-91FE-F4AF62815B5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6564052" y="2924944"/>
            <a:ext cx="5292000" cy="3096000"/>
          </a:xfrm>
          <a:solidFill>
            <a:srgbClr val="DCDCDC"/>
          </a:solidFill>
          <a:ln w="12700">
            <a:noFill/>
          </a:ln>
        </p:spPr>
        <p:txBody>
          <a:bodyPr/>
          <a:lstStyle>
            <a:lvl1pPr>
              <a:lnSpc>
                <a:spcPct val="100000"/>
              </a:lnSpc>
              <a:defRPr sz="1800" b="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1D3A196-EC48-4508-9945-F8EA050616C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324746" y="623173"/>
            <a:ext cx="7380000" cy="380104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6669049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42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ild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57E6067A-3D10-4943-BA4E-F4E44F517B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21652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57E6067A-3D10-4943-BA4E-F4E44F517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A55753FE-38D8-40E6-8558-4037A791581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113000"/>
              </a:lnSpc>
              <a:buFontTx/>
              <a:buNone/>
            </a:pPr>
            <a:endParaRPr lang="de-DE" sz="2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AFDEA4EC-711C-4DE1-93EC-C1AED588A1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1418004" y="549689"/>
            <a:ext cx="9738414" cy="5759631"/>
          </a:xfrm>
          <a:custGeom>
            <a:avLst/>
            <a:gdLst>
              <a:gd name="connsiteX0" fmla="*/ 8416902 w 9738414"/>
              <a:gd name="connsiteY0" fmla="*/ 0 h 5759631"/>
              <a:gd name="connsiteX1" fmla="*/ 9738414 w 9738414"/>
              <a:gd name="connsiteY1" fmla="*/ 5759631 h 5759631"/>
              <a:gd name="connsiteX2" fmla="*/ 878409 w 9738414"/>
              <a:gd name="connsiteY2" fmla="*/ 5759631 h 5759631"/>
              <a:gd name="connsiteX3" fmla="*/ 0 w 9738414"/>
              <a:gd name="connsiteY3" fmla="*/ 1931207 h 5759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38414" h="5759631">
                <a:moveTo>
                  <a:pt x="8416902" y="0"/>
                </a:moveTo>
                <a:lnTo>
                  <a:pt x="9738414" y="5759631"/>
                </a:lnTo>
                <a:lnTo>
                  <a:pt x="878409" y="5759631"/>
                </a:lnTo>
                <a:lnTo>
                  <a:pt x="0" y="1931207"/>
                </a:lnTo>
                <a:close/>
              </a:path>
            </a:pathLst>
          </a:custGeom>
          <a:solidFill>
            <a:srgbClr val="DCDCDC"/>
          </a:solidFill>
          <a:ln w="12700">
            <a:noFill/>
          </a:ln>
        </p:spPr>
        <p:txBody>
          <a:bodyPr wrap="square" lIns="900000" anchor="b">
            <a:noAutofit/>
          </a:bodyPr>
          <a:lstStyle>
            <a:lvl1pPr>
              <a:lnSpc>
                <a:spcPct val="100000"/>
              </a:lnSpc>
              <a:defRPr sz="1800" b="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12" name="Freihandform 38">
            <a:extLst>
              <a:ext uri="{FF2B5EF4-FFF2-40B4-BE49-F238E27FC236}">
                <a16:creationId xmlns:a16="http://schemas.microsoft.com/office/drawing/2014/main" id="{B501060D-5D77-4985-B2B3-855FF7666E87}"/>
              </a:ext>
            </a:extLst>
          </p:cNvPr>
          <p:cNvSpPr/>
          <p:nvPr userDrawn="1"/>
        </p:nvSpPr>
        <p:spPr bwMode="gray">
          <a:xfrm>
            <a:off x="846313" y="-8020"/>
            <a:ext cx="8991600" cy="2490944"/>
          </a:xfrm>
          <a:custGeom>
            <a:avLst/>
            <a:gdLst>
              <a:gd name="connsiteX0" fmla="*/ 0 w 6743700"/>
              <a:gd name="connsiteY0" fmla="*/ 0 h 1864895"/>
              <a:gd name="connsiteX1" fmla="*/ 433137 w 6743700"/>
              <a:gd name="connsiteY1" fmla="*/ 1864895 h 1864895"/>
              <a:gd name="connsiteX2" fmla="*/ 6743700 w 6743700"/>
              <a:gd name="connsiteY2" fmla="*/ 415090 h 1864895"/>
              <a:gd name="connsiteX3" fmla="*/ 6647448 w 6743700"/>
              <a:gd name="connsiteY3" fmla="*/ 6016 h 1864895"/>
              <a:gd name="connsiteX4" fmla="*/ 0 w 6743700"/>
              <a:gd name="connsiteY4" fmla="*/ 0 h 1864895"/>
              <a:gd name="connsiteX0" fmla="*/ 0 w 6743700"/>
              <a:gd name="connsiteY0" fmla="*/ 0 h 1868208"/>
              <a:gd name="connsiteX1" fmla="*/ 429824 w 6743700"/>
              <a:gd name="connsiteY1" fmla="*/ 1868208 h 1868208"/>
              <a:gd name="connsiteX2" fmla="*/ 6743700 w 6743700"/>
              <a:gd name="connsiteY2" fmla="*/ 415090 h 1868208"/>
              <a:gd name="connsiteX3" fmla="*/ 6647448 w 6743700"/>
              <a:gd name="connsiteY3" fmla="*/ 6016 h 1868208"/>
              <a:gd name="connsiteX4" fmla="*/ 0 w 6743700"/>
              <a:gd name="connsiteY4" fmla="*/ 0 h 1868208"/>
              <a:gd name="connsiteX0" fmla="*/ 0 w 6743700"/>
              <a:gd name="connsiteY0" fmla="*/ 0 h 1868208"/>
              <a:gd name="connsiteX1" fmla="*/ 429824 w 6743700"/>
              <a:gd name="connsiteY1" fmla="*/ 1868208 h 1868208"/>
              <a:gd name="connsiteX2" fmla="*/ 6743700 w 6743700"/>
              <a:gd name="connsiteY2" fmla="*/ 418403 h 1868208"/>
              <a:gd name="connsiteX3" fmla="*/ 6647448 w 6743700"/>
              <a:gd name="connsiteY3" fmla="*/ 6016 h 1868208"/>
              <a:gd name="connsiteX4" fmla="*/ 0 w 6743700"/>
              <a:gd name="connsiteY4" fmla="*/ 0 h 18682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43700" h="1868208">
                <a:moveTo>
                  <a:pt x="0" y="0"/>
                </a:moveTo>
                <a:lnTo>
                  <a:pt x="429824" y="1868208"/>
                </a:lnTo>
                <a:lnTo>
                  <a:pt x="6743700" y="418403"/>
                </a:lnTo>
                <a:lnTo>
                  <a:pt x="6647448" y="6016"/>
                </a:lnTo>
                <a:lnTo>
                  <a:pt x="0" y="0"/>
                </a:lnTo>
                <a:close/>
              </a:path>
            </a:pathLst>
          </a:custGeom>
          <a:solidFill>
            <a:srgbClr val="FF8C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557F900-1B83-45E6-9918-0BFDF40697D1}"/>
              </a:ext>
            </a:extLst>
          </p:cNvPr>
          <p:cNvSpPr>
            <a:spLocks noGrp="1"/>
          </p:cNvSpPr>
          <p:nvPr userDrawn="1"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B53CE31-A0BA-46A1-882F-AB6758FBE8F0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FE13759F-5A98-4E48-BC92-D81B75320975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 bwMode="gray">
          <a:xfrm>
            <a:off x="335360" y="-1"/>
            <a:ext cx="8640445" cy="1626452"/>
          </a:xfrm>
          <a:custGeom>
            <a:avLst/>
            <a:gdLst>
              <a:gd name="connsiteX0" fmla="*/ 0 w 8640445"/>
              <a:gd name="connsiteY0" fmla="*/ 0 h 1626452"/>
              <a:gd name="connsiteX1" fmla="*/ 8640445 w 8640445"/>
              <a:gd name="connsiteY1" fmla="*/ 0 h 1626452"/>
              <a:gd name="connsiteX2" fmla="*/ 8640445 w 8640445"/>
              <a:gd name="connsiteY2" fmla="*/ 1626452 h 1626452"/>
              <a:gd name="connsiteX3" fmla="*/ 0 w 8640445"/>
              <a:gd name="connsiteY3" fmla="*/ 1626452 h 162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40445" h="1626452">
                <a:moveTo>
                  <a:pt x="0" y="0"/>
                </a:moveTo>
                <a:lnTo>
                  <a:pt x="8640445" y="0"/>
                </a:lnTo>
                <a:lnTo>
                  <a:pt x="8640445" y="1626452"/>
                </a:lnTo>
                <a:lnTo>
                  <a:pt x="0" y="1626452"/>
                </a:lnTo>
                <a:close/>
              </a:path>
            </a:pathLst>
          </a:custGeom>
          <a:solidFill>
            <a:srgbClr val="FF8C00">
              <a:alpha val="80000"/>
            </a:srgbClr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DF37D70-3205-42B8-B80E-6243FC79B404}"/>
              </a:ext>
            </a:extLst>
          </p:cNvPr>
          <p:cNvSpPr>
            <a:spLocks noGrp="1"/>
          </p:cNvSpPr>
          <p:nvPr userDrawn="1">
            <p:ph type="title"/>
          </p:nvPr>
        </p:nvSpPr>
        <p:spPr bwMode="gray">
          <a:xfrm>
            <a:off x="1324746" y="623173"/>
            <a:ext cx="7380000" cy="380104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03869151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, Diagramm und Text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AE69DCD5-74A1-417F-918A-9610F9EF60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6591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AE69DCD5-74A1-417F-918A-9610F9EF60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34485626-E85E-4A05-8809-28F5263F80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113000"/>
              </a:lnSpc>
              <a:buFontTx/>
              <a:buNone/>
            </a:pPr>
            <a:endParaRPr lang="de-DE" sz="2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13FC066-69EF-4BEA-861D-05FAE0E7905E}"/>
              </a:ext>
            </a:extLst>
          </p:cNvPr>
          <p:cNvGrpSpPr/>
          <p:nvPr userDrawn="1"/>
        </p:nvGrpSpPr>
        <p:grpSpPr bwMode="gray">
          <a:xfrm>
            <a:off x="335360" y="-8020"/>
            <a:ext cx="9502553" cy="2490944"/>
            <a:chOff x="260474" y="-6015"/>
            <a:chExt cx="7126915" cy="1868208"/>
          </a:xfrm>
        </p:grpSpPr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BEBF0BAA-83E7-4D92-80DB-BF5FEC90172E}"/>
                </a:ext>
              </a:extLst>
            </p:cNvPr>
            <p:cNvSpPr/>
            <p:nvPr/>
          </p:nvSpPr>
          <p:spPr bwMode="gray">
            <a:xfrm>
              <a:off x="260474" y="-1"/>
              <a:ext cx="6480334" cy="1219839"/>
            </a:xfrm>
            <a:prstGeom prst="rect">
              <a:avLst/>
            </a:pr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29" name="Freihandform 38">
              <a:extLst>
                <a:ext uri="{FF2B5EF4-FFF2-40B4-BE49-F238E27FC236}">
                  <a16:creationId xmlns:a16="http://schemas.microsoft.com/office/drawing/2014/main" id="{0DBACA75-CBD8-4638-BC05-DD08C95CD560}"/>
                </a:ext>
              </a:extLst>
            </p:cNvPr>
            <p:cNvSpPr/>
            <p:nvPr/>
          </p:nvSpPr>
          <p:spPr bwMode="gray">
            <a:xfrm>
              <a:off x="643689" y="-6015"/>
              <a:ext cx="6743700" cy="1868208"/>
            </a:xfrm>
            <a:custGeom>
              <a:avLst/>
              <a:gdLst>
                <a:gd name="connsiteX0" fmla="*/ 0 w 6743700"/>
                <a:gd name="connsiteY0" fmla="*/ 0 h 1864895"/>
                <a:gd name="connsiteX1" fmla="*/ 433137 w 6743700"/>
                <a:gd name="connsiteY1" fmla="*/ 1864895 h 1864895"/>
                <a:gd name="connsiteX2" fmla="*/ 6743700 w 6743700"/>
                <a:gd name="connsiteY2" fmla="*/ 415090 h 1864895"/>
                <a:gd name="connsiteX3" fmla="*/ 6647448 w 6743700"/>
                <a:gd name="connsiteY3" fmla="*/ 6016 h 1864895"/>
                <a:gd name="connsiteX4" fmla="*/ 0 w 6743700"/>
                <a:gd name="connsiteY4" fmla="*/ 0 h 1864895"/>
                <a:gd name="connsiteX0" fmla="*/ 0 w 6743700"/>
                <a:gd name="connsiteY0" fmla="*/ 0 h 1868208"/>
                <a:gd name="connsiteX1" fmla="*/ 429824 w 6743700"/>
                <a:gd name="connsiteY1" fmla="*/ 1868208 h 1868208"/>
                <a:gd name="connsiteX2" fmla="*/ 6743700 w 6743700"/>
                <a:gd name="connsiteY2" fmla="*/ 415090 h 1868208"/>
                <a:gd name="connsiteX3" fmla="*/ 6647448 w 6743700"/>
                <a:gd name="connsiteY3" fmla="*/ 6016 h 1868208"/>
                <a:gd name="connsiteX4" fmla="*/ 0 w 6743700"/>
                <a:gd name="connsiteY4" fmla="*/ 0 h 1868208"/>
                <a:gd name="connsiteX0" fmla="*/ 0 w 6743700"/>
                <a:gd name="connsiteY0" fmla="*/ 0 h 1868208"/>
                <a:gd name="connsiteX1" fmla="*/ 429824 w 6743700"/>
                <a:gd name="connsiteY1" fmla="*/ 1868208 h 1868208"/>
                <a:gd name="connsiteX2" fmla="*/ 6743700 w 6743700"/>
                <a:gd name="connsiteY2" fmla="*/ 418403 h 1868208"/>
                <a:gd name="connsiteX3" fmla="*/ 6647448 w 6743700"/>
                <a:gd name="connsiteY3" fmla="*/ 6016 h 1868208"/>
                <a:gd name="connsiteX4" fmla="*/ 0 w 6743700"/>
                <a:gd name="connsiteY4" fmla="*/ 0 h 1868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3700" h="1868208">
                  <a:moveTo>
                    <a:pt x="0" y="0"/>
                  </a:moveTo>
                  <a:lnTo>
                    <a:pt x="429824" y="1868208"/>
                  </a:lnTo>
                  <a:lnTo>
                    <a:pt x="6743700" y="418403"/>
                  </a:lnTo>
                  <a:lnTo>
                    <a:pt x="6647448" y="60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A976E7E-66B6-47D2-9D7B-80700ADEF6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5DB896E-51FE-4379-A762-A8C1C810C5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5" name="Diagrammplatzhalter 8">
            <a:extLst>
              <a:ext uri="{FF2B5EF4-FFF2-40B4-BE49-F238E27FC236}">
                <a16:creationId xmlns:a16="http://schemas.microsoft.com/office/drawing/2014/main" id="{F0D70606-C809-4BF1-BC85-924E2AE70E08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 bwMode="gray">
          <a:xfrm>
            <a:off x="5593751" y="2924174"/>
            <a:ext cx="6263287" cy="2916717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5E6A5D7E-0143-4CB0-A07E-F4745144D4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95400" y="3248980"/>
            <a:ext cx="4536000" cy="217047"/>
          </a:xfrm>
        </p:spPr>
        <p:txBody>
          <a:bodyPr wrap="square">
            <a:spAutoFit/>
          </a:bodyPr>
          <a:lstStyle>
            <a:lvl1pPr marL="0" indent="0">
              <a:buFont typeface="Arial" panose="020B0604020202020204" pitchFamily="34" charset="0"/>
              <a:buNone/>
              <a:defRPr sz="1400" b="0" spc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Platzhalter für die Werteinheit</a:t>
            </a:r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28272D61-D08D-4B2F-A3DC-835B393C53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593751" y="5897215"/>
            <a:ext cx="6263287" cy="124073"/>
          </a:xfrm>
        </p:spPr>
        <p:txBody>
          <a:bodyPr wrap="square" anchor="b">
            <a:spAutoFit/>
          </a:bodyPr>
          <a:lstStyle>
            <a:lvl1pPr marL="0" indent="0">
              <a:buFont typeface="Arial" panose="020B0604020202020204" pitchFamily="34" charset="0"/>
              <a:buNone/>
              <a:defRPr sz="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800" b="0">
                <a:solidFill>
                  <a:schemeClr val="tx1"/>
                </a:solidFill>
              </a:defRPr>
            </a:lvl2pPr>
            <a:lvl3pPr marL="0" indent="0">
              <a:buNone/>
              <a:defRPr sz="800" b="0">
                <a:solidFill>
                  <a:schemeClr val="tx1"/>
                </a:solidFill>
              </a:defRPr>
            </a:lvl3pPr>
            <a:lvl4pPr marL="0" indent="0">
              <a:buNone/>
              <a:defRPr sz="800" b="0">
                <a:solidFill>
                  <a:schemeClr val="tx1"/>
                </a:solidFill>
              </a:defRPr>
            </a:lvl4pPr>
            <a:lvl5pPr marL="0" indent="0">
              <a:buNone/>
              <a:defRPr sz="8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Platzhalter für eine Quellenangabe</a:t>
            </a:r>
            <a:endParaRPr lang="de-DE" dirty="0"/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21C50330-10AB-480E-8BF9-234F19EBC5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400" y="2924944"/>
            <a:ext cx="4536000" cy="279051"/>
          </a:xfrm>
        </p:spPr>
        <p:txBody>
          <a:bodyPr wrap="square">
            <a:spAutoFit/>
          </a:bodyPr>
          <a:lstStyle>
            <a:lvl1pPr marL="0" indent="0">
              <a:buFont typeface="Arial" panose="020B0604020202020204" pitchFamily="34" charset="0"/>
              <a:buNone/>
              <a:defRPr sz="1800" b="1" spc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2000" b="1">
                <a:solidFill>
                  <a:schemeClr val="tx2"/>
                </a:solidFill>
              </a:defRPr>
            </a:lvl2pPr>
            <a:lvl3pPr marL="0" indent="0">
              <a:buNone/>
              <a:defRPr sz="2000" b="1">
                <a:solidFill>
                  <a:schemeClr val="tx2"/>
                </a:solidFill>
              </a:defRPr>
            </a:lvl3pPr>
            <a:lvl4pPr marL="0" indent="0">
              <a:buNone/>
              <a:defRPr sz="2000" b="1">
                <a:solidFill>
                  <a:schemeClr val="tx2"/>
                </a:solidFill>
              </a:defRPr>
            </a:lvl4pPr>
            <a:lvl5pPr marL="0" indent="0">
              <a:buNone/>
              <a:defRPr sz="2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Platzhalter für den Diagrammtitel</a:t>
            </a:r>
          </a:p>
        </p:txBody>
      </p:sp>
      <p:sp>
        <p:nvSpPr>
          <p:cNvPr id="19" name="Textplatzhalter 8">
            <a:extLst>
              <a:ext uri="{FF2B5EF4-FFF2-40B4-BE49-F238E27FC236}">
                <a16:creationId xmlns:a16="http://schemas.microsoft.com/office/drawing/2014/main" id="{BA9753EA-FBA9-4F10-A960-016C1040DB2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95400" y="3645024"/>
            <a:ext cx="4536550" cy="2376264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BDC5DC26-F8AE-4616-AE61-61A2FC6A64F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324746" y="623173"/>
            <a:ext cx="7380000" cy="380104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811D0F04-C71D-449D-A913-2E6EC03412A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855382" y="327932"/>
            <a:ext cx="1017525" cy="662674"/>
          </a:xfrm>
          <a:prstGeom prst="rect">
            <a:avLst/>
          </a:prstGeom>
        </p:spPr>
      </p:pic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2C19FF6A-48AB-4D1E-9023-BCB5CF48CC4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35360" y="6317458"/>
            <a:ext cx="11520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7361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42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4BDD804C-F6BF-4159-8EF6-9DD51C7ADD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73087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4BDD804C-F6BF-4159-8EF6-9DD51C7ADD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9859744E-6BFE-497C-82B4-FBBA7B3F2A5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113000"/>
              </a:lnSpc>
              <a:buFontTx/>
              <a:buNone/>
            </a:pPr>
            <a:endParaRPr lang="de-DE" sz="2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B90F8B58-133E-4215-B6F4-447036B8AFC7}"/>
              </a:ext>
            </a:extLst>
          </p:cNvPr>
          <p:cNvGrpSpPr/>
          <p:nvPr userDrawn="1"/>
        </p:nvGrpSpPr>
        <p:grpSpPr bwMode="gray">
          <a:xfrm>
            <a:off x="335360" y="-8020"/>
            <a:ext cx="9502553" cy="2490944"/>
            <a:chOff x="260474" y="-6015"/>
            <a:chExt cx="7126915" cy="1868208"/>
          </a:xfrm>
        </p:grpSpPr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5169515E-5770-4C4E-9611-C3E1AFFDD7D5}"/>
                </a:ext>
              </a:extLst>
            </p:cNvPr>
            <p:cNvSpPr/>
            <p:nvPr/>
          </p:nvSpPr>
          <p:spPr bwMode="gray">
            <a:xfrm>
              <a:off x="260474" y="-1"/>
              <a:ext cx="6480334" cy="1219839"/>
            </a:xfrm>
            <a:prstGeom prst="rect">
              <a:avLst/>
            </a:pr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18" name="Freihandform 38">
              <a:extLst>
                <a:ext uri="{FF2B5EF4-FFF2-40B4-BE49-F238E27FC236}">
                  <a16:creationId xmlns:a16="http://schemas.microsoft.com/office/drawing/2014/main" id="{8CBE617F-62B1-49D4-B1FF-1AC330F81A36}"/>
                </a:ext>
              </a:extLst>
            </p:cNvPr>
            <p:cNvSpPr/>
            <p:nvPr/>
          </p:nvSpPr>
          <p:spPr bwMode="gray">
            <a:xfrm>
              <a:off x="643689" y="-6015"/>
              <a:ext cx="6743700" cy="1868208"/>
            </a:xfrm>
            <a:custGeom>
              <a:avLst/>
              <a:gdLst>
                <a:gd name="connsiteX0" fmla="*/ 0 w 6743700"/>
                <a:gd name="connsiteY0" fmla="*/ 0 h 1864895"/>
                <a:gd name="connsiteX1" fmla="*/ 433137 w 6743700"/>
                <a:gd name="connsiteY1" fmla="*/ 1864895 h 1864895"/>
                <a:gd name="connsiteX2" fmla="*/ 6743700 w 6743700"/>
                <a:gd name="connsiteY2" fmla="*/ 415090 h 1864895"/>
                <a:gd name="connsiteX3" fmla="*/ 6647448 w 6743700"/>
                <a:gd name="connsiteY3" fmla="*/ 6016 h 1864895"/>
                <a:gd name="connsiteX4" fmla="*/ 0 w 6743700"/>
                <a:gd name="connsiteY4" fmla="*/ 0 h 1864895"/>
                <a:gd name="connsiteX0" fmla="*/ 0 w 6743700"/>
                <a:gd name="connsiteY0" fmla="*/ 0 h 1868208"/>
                <a:gd name="connsiteX1" fmla="*/ 429824 w 6743700"/>
                <a:gd name="connsiteY1" fmla="*/ 1868208 h 1868208"/>
                <a:gd name="connsiteX2" fmla="*/ 6743700 w 6743700"/>
                <a:gd name="connsiteY2" fmla="*/ 415090 h 1868208"/>
                <a:gd name="connsiteX3" fmla="*/ 6647448 w 6743700"/>
                <a:gd name="connsiteY3" fmla="*/ 6016 h 1868208"/>
                <a:gd name="connsiteX4" fmla="*/ 0 w 6743700"/>
                <a:gd name="connsiteY4" fmla="*/ 0 h 1868208"/>
                <a:gd name="connsiteX0" fmla="*/ 0 w 6743700"/>
                <a:gd name="connsiteY0" fmla="*/ 0 h 1868208"/>
                <a:gd name="connsiteX1" fmla="*/ 429824 w 6743700"/>
                <a:gd name="connsiteY1" fmla="*/ 1868208 h 1868208"/>
                <a:gd name="connsiteX2" fmla="*/ 6743700 w 6743700"/>
                <a:gd name="connsiteY2" fmla="*/ 418403 h 1868208"/>
                <a:gd name="connsiteX3" fmla="*/ 6647448 w 6743700"/>
                <a:gd name="connsiteY3" fmla="*/ 6016 h 1868208"/>
                <a:gd name="connsiteX4" fmla="*/ 0 w 6743700"/>
                <a:gd name="connsiteY4" fmla="*/ 0 h 1868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43700" h="1868208">
                  <a:moveTo>
                    <a:pt x="0" y="0"/>
                  </a:moveTo>
                  <a:lnTo>
                    <a:pt x="429824" y="1868208"/>
                  </a:lnTo>
                  <a:lnTo>
                    <a:pt x="6743700" y="418403"/>
                  </a:lnTo>
                  <a:lnTo>
                    <a:pt x="6647448" y="60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63D8B59-CDFF-47E1-BD35-8A47228695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D48E52B-61A0-435C-AB12-EAE644826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D55A091D-95BC-4116-B785-E1149E76292C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324746" y="623173"/>
            <a:ext cx="7380000" cy="380104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FB89F753-7E79-4A1B-8C97-620D42FBB5F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855382" y="327932"/>
            <a:ext cx="1017525" cy="662674"/>
          </a:xfrm>
          <a:prstGeom prst="rect">
            <a:avLst/>
          </a:prstGeom>
        </p:spPr>
      </p:pic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026E1071-1C18-4EA3-B440-98E42000149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35360" y="6317458"/>
            <a:ext cx="11520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357868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842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Text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70EC369-A260-44CE-88B8-A9B8140565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155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70EC369-A260-44CE-88B8-A9B8140565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57A6501-2E26-4D0D-A6F9-21C7690BFFF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F8779A0-B0FF-4C21-BABB-4F02E5D74F6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4C7D7D-53EA-4ECC-B833-87968F4A84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528D182-E4E8-49E3-8795-36960DA399A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6000" y="1304417"/>
            <a:ext cx="9792000" cy="380104"/>
          </a:xfrm>
        </p:spPr>
        <p:txBody>
          <a:bodyPr>
            <a:spAutoFit/>
          </a:bodyPr>
          <a:lstStyle>
            <a:lvl1pPr marL="0" indent="0">
              <a:lnSpc>
                <a:spcPct val="95000"/>
              </a:lnSpc>
              <a:buFont typeface="Arial" panose="020B0604020202020204" pitchFamily="34" charset="0"/>
              <a:buNone/>
              <a:defRPr sz="2600" b="0" spc="-20" baseline="0">
                <a:solidFill>
                  <a:schemeClr val="tx1"/>
                </a:solidFill>
              </a:defRPr>
            </a:lvl1pPr>
            <a:lvl2pPr marL="0" indent="0">
              <a:lnSpc>
                <a:spcPct val="95000"/>
              </a:lnSpc>
              <a:buFont typeface="Arial" panose="020B0604020202020204" pitchFamily="34" charset="0"/>
              <a:buNone/>
              <a:defRPr sz="2800" b="0">
                <a:solidFill>
                  <a:schemeClr val="tx2"/>
                </a:solidFill>
              </a:defRPr>
            </a:lvl2pPr>
            <a:lvl3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3pPr>
            <a:lvl4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4pPr>
            <a:lvl5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Untertitel durch Klicken bearbeiten (optional)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E0E0C25-96EB-4DA7-8449-811E03DA83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95400" y="1844824"/>
            <a:ext cx="11160000" cy="4176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BF86CC5-67C9-4C2D-9EFB-EB02A80CCD07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B96E6790-AD71-4366-B2BC-F83C85CD192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855382" y="327932"/>
            <a:ext cx="1017525" cy="662674"/>
          </a:xfrm>
          <a:prstGeom prst="rect">
            <a:avLst/>
          </a:prstGeom>
        </p:spPr>
      </p:pic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539CAFC6-4CAB-4709-9DDC-903A98B49526}"/>
              </a:ext>
            </a:extLst>
          </p:cNvPr>
          <p:cNvGrpSpPr/>
          <p:nvPr userDrawn="1"/>
        </p:nvGrpSpPr>
        <p:grpSpPr bwMode="gray">
          <a:xfrm rot="10800000">
            <a:off x="7680175" y="6087015"/>
            <a:ext cx="4176464" cy="770983"/>
            <a:chOff x="266132" y="0"/>
            <a:chExt cx="5613810" cy="1036320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A04E1871-384E-4076-8713-FBAB586743FD}"/>
                </a:ext>
              </a:extLst>
            </p:cNvPr>
            <p:cNvSpPr/>
            <p:nvPr/>
          </p:nvSpPr>
          <p:spPr bwMode="gray">
            <a:xfrm>
              <a:off x="266132" y="0"/>
              <a:ext cx="5613810" cy="472881"/>
            </a:xfrm>
            <a:prstGeom prst="rect">
              <a:avLst/>
            </a:pr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dirty="0"/>
            </a:p>
          </p:txBody>
        </p:sp>
        <p:sp>
          <p:nvSpPr>
            <p:cNvPr id="13" name="Freihandform 23">
              <a:extLst>
                <a:ext uri="{FF2B5EF4-FFF2-40B4-BE49-F238E27FC236}">
                  <a16:creationId xmlns:a16="http://schemas.microsoft.com/office/drawing/2014/main" id="{8ACBA0CE-A4B2-4444-A2D3-A62B94BBC6F8}"/>
                </a:ext>
              </a:extLst>
            </p:cNvPr>
            <p:cNvSpPr/>
            <p:nvPr/>
          </p:nvSpPr>
          <p:spPr bwMode="gray">
            <a:xfrm>
              <a:off x="796544" y="0"/>
              <a:ext cx="4665472" cy="1036320"/>
            </a:xfrm>
            <a:custGeom>
              <a:avLst/>
              <a:gdLst>
                <a:gd name="connsiteX0" fmla="*/ 0 w 4665472"/>
                <a:gd name="connsiteY0" fmla="*/ 0 h 1036320"/>
                <a:gd name="connsiteX1" fmla="*/ 231648 w 4665472"/>
                <a:gd name="connsiteY1" fmla="*/ 1036320 h 1036320"/>
                <a:gd name="connsiteX2" fmla="*/ 4665472 w 4665472"/>
                <a:gd name="connsiteY2" fmla="*/ 4064 h 1036320"/>
                <a:gd name="connsiteX3" fmla="*/ 0 w 4665472"/>
                <a:gd name="connsiteY3" fmla="*/ 0 h 1036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65472" h="1036320">
                  <a:moveTo>
                    <a:pt x="0" y="0"/>
                  </a:moveTo>
                  <a:lnTo>
                    <a:pt x="231648" y="1036320"/>
                  </a:lnTo>
                  <a:lnTo>
                    <a:pt x="4665472" y="40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</p:spTree>
    <p:extLst>
      <p:ext uri="{BB962C8B-B14F-4D97-AF65-F5344CB8AC3E}">
        <p14:creationId xmlns:p14="http://schemas.microsoft.com/office/powerpoint/2010/main" val="136866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01 mit Stemp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ihandform 11">
            <a:extLst>
              <a:ext uri="{FF2B5EF4-FFF2-40B4-BE49-F238E27FC236}">
                <a16:creationId xmlns:a16="http://schemas.microsoft.com/office/drawing/2014/main" id="{345B8CC5-06C1-472D-9579-229E85ACF8E4}"/>
              </a:ext>
            </a:extLst>
          </p:cNvPr>
          <p:cNvSpPr/>
          <p:nvPr userDrawn="1"/>
        </p:nvSpPr>
        <p:spPr bwMode="gray">
          <a:xfrm>
            <a:off x="144780" y="-7619"/>
            <a:ext cx="9357360" cy="4076700"/>
          </a:xfrm>
          <a:custGeom>
            <a:avLst/>
            <a:gdLst>
              <a:gd name="connsiteX0" fmla="*/ 0 w 7018020"/>
              <a:gd name="connsiteY0" fmla="*/ 0 h 3057525"/>
              <a:gd name="connsiteX1" fmla="*/ 714375 w 7018020"/>
              <a:gd name="connsiteY1" fmla="*/ 3057525 h 3057525"/>
              <a:gd name="connsiteX2" fmla="*/ 7018020 w 7018020"/>
              <a:gd name="connsiteY2" fmla="*/ 1600200 h 3057525"/>
              <a:gd name="connsiteX3" fmla="*/ 6652260 w 7018020"/>
              <a:gd name="connsiteY3" fmla="*/ 5715 h 3057525"/>
              <a:gd name="connsiteX4" fmla="*/ 0 w 7018020"/>
              <a:gd name="connsiteY4" fmla="*/ 0 h 3057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18020" h="3057525">
                <a:moveTo>
                  <a:pt x="0" y="0"/>
                </a:moveTo>
                <a:lnTo>
                  <a:pt x="714375" y="3057525"/>
                </a:lnTo>
                <a:lnTo>
                  <a:pt x="7018020" y="1600200"/>
                </a:lnTo>
                <a:lnTo>
                  <a:pt x="6652260" y="5715"/>
                </a:lnTo>
                <a:lnTo>
                  <a:pt x="0" y="0"/>
                </a:lnTo>
                <a:close/>
              </a:path>
            </a:pathLst>
          </a:custGeom>
          <a:solidFill>
            <a:srgbClr val="FF8C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C178B517-5906-4BB1-B0FC-C8DC054AAF36}"/>
              </a:ext>
            </a:extLst>
          </p:cNvPr>
          <p:cNvSpPr/>
          <p:nvPr userDrawn="1"/>
        </p:nvSpPr>
        <p:spPr bwMode="gray">
          <a:xfrm>
            <a:off x="-5" y="0"/>
            <a:ext cx="8640445" cy="3217547"/>
          </a:xfrm>
          <a:prstGeom prst="rect">
            <a:avLst/>
          </a:prstGeom>
          <a:solidFill>
            <a:srgbClr val="FF8C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4EFD84D-7620-4378-B33F-72E1F06AAE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04421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4EFD84D-7620-4378-B33F-72E1F06AA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F6FBC020-F7BC-491F-A515-7633C9383B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8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31996BA-DEBA-4422-8751-889EF72798A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960000" y="1345624"/>
            <a:ext cx="7416000" cy="526298"/>
          </a:xfrm>
        </p:spPr>
        <p:txBody>
          <a:bodyPr anchor="ctr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9DAC5A5B-2679-4974-BA5D-19265FF288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0000" y="5079957"/>
            <a:ext cx="4356000" cy="307777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2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buNone/>
              <a:defRPr sz="22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buNone/>
              <a:defRPr sz="22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buNone/>
              <a:defRPr sz="22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Kolpingsfamilie Beispielhausen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E94ABF0D-D15C-4EE3-B3EB-0D61FAD821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960000" y="5432738"/>
            <a:ext cx="4356000" cy="307777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20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2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buNone/>
              <a:defRPr sz="22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buNone/>
              <a:defRPr sz="22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buNone/>
              <a:defRPr sz="2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T. Monat 20XX</a:t>
            </a:r>
          </a:p>
        </p:txBody>
      </p:sp>
      <p:sp>
        <p:nvSpPr>
          <p:cNvPr id="14" name="Textplatzhalter 10">
            <a:extLst>
              <a:ext uri="{FF2B5EF4-FFF2-40B4-BE49-F238E27FC236}">
                <a16:creationId xmlns:a16="http://schemas.microsoft.com/office/drawing/2014/main" id="{51848211-9774-4D0C-9DA2-0F501977F52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960000" y="5785519"/>
            <a:ext cx="4356000" cy="307777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20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2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buNone/>
              <a:defRPr sz="22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buNone/>
              <a:defRPr sz="22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buNone/>
              <a:defRPr sz="2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Name, Funktion</a:t>
            </a:r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0280999A-8E56-4156-8600-9E3E35FDA06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5460843" y="5325512"/>
            <a:ext cx="3179597" cy="695876"/>
          </a:xfrm>
        </p:spPr>
        <p:txBody>
          <a:bodyPr/>
          <a:lstStyle>
            <a:lvl1pPr>
              <a:lnSpc>
                <a:spcPct val="100000"/>
              </a:lnSpc>
              <a:defRPr sz="1600" b="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78A93654-10BB-4A8A-A13A-AE02708FB69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9831968" y="5045190"/>
            <a:ext cx="1664632" cy="1084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616426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Text zweispaltig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70EC369-A260-44CE-88B8-A9B8140565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97444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70EC369-A260-44CE-88B8-A9B8140565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57A6501-2E26-4D0D-A6F9-21C7690BFFF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F8779A0-B0FF-4C21-BABB-4F02E5D74F6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4C7D7D-53EA-4ECC-B833-87968F4A84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528D182-E4E8-49E3-8795-36960DA399A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6000" y="1304417"/>
            <a:ext cx="9792000" cy="380104"/>
          </a:xfrm>
        </p:spPr>
        <p:txBody>
          <a:bodyPr>
            <a:spAutoFit/>
          </a:bodyPr>
          <a:lstStyle>
            <a:lvl1pPr marL="0" indent="0">
              <a:lnSpc>
                <a:spcPct val="95000"/>
              </a:lnSpc>
              <a:buFont typeface="Arial" panose="020B0604020202020204" pitchFamily="34" charset="0"/>
              <a:buNone/>
              <a:defRPr sz="2600" b="0" spc="-20" baseline="0">
                <a:solidFill>
                  <a:schemeClr val="tx1"/>
                </a:solidFill>
              </a:defRPr>
            </a:lvl1pPr>
            <a:lvl2pPr marL="0" indent="0">
              <a:lnSpc>
                <a:spcPct val="95000"/>
              </a:lnSpc>
              <a:buFont typeface="Arial" panose="020B0604020202020204" pitchFamily="34" charset="0"/>
              <a:buNone/>
              <a:defRPr sz="2800" b="0">
                <a:solidFill>
                  <a:schemeClr val="tx2"/>
                </a:solidFill>
              </a:defRPr>
            </a:lvl2pPr>
            <a:lvl3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3pPr>
            <a:lvl4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4pPr>
            <a:lvl5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Untertitel durch Klicken bearbeiten (optional)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E0E0C25-96EB-4DA7-8449-811E03DA83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95401" y="1844824"/>
            <a:ext cx="5292000" cy="4176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BB564BB-1056-4898-A717-B9A6FACCAE3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6564052" y="1844824"/>
            <a:ext cx="5292000" cy="4176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673EAD92-206F-442C-8044-262B90A887C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855382" y="327932"/>
            <a:ext cx="1017525" cy="662674"/>
          </a:xfrm>
          <a:prstGeom prst="rect">
            <a:avLst/>
          </a:prstGeom>
        </p:spPr>
      </p:pic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A1FF8ECD-CB67-4129-B770-D16090080648}"/>
              </a:ext>
            </a:extLst>
          </p:cNvPr>
          <p:cNvGrpSpPr/>
          <p:nvPr userDrawn="1"/>
        </p:nvGrpSpPr>
        <p:grpSpPr bwMode="gray">
          <a:xfrm rot="10800000">
            <a:off x="7680175" y="6087015"/>
            <a:ext cx="4176464" cy="770983"/>
            <a:chOff x="266132" y="0"/>
            <a:chExt cx="5613810" cy="1036320"/>
          </a:xfrm>
        </p:grpSpPr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DFF4D703-F38C-48A9-B752-27C0E25DB41F}"/>
                </a:ext>
              </a:extLst>
            </p:cNvPr>
            <p:cNvSpPr/>
            <p:nvPr/>
          </p:nvSpPr>
          <p:spPr bwMode="gray">
            <a:xfrm>
              <a:off x="266132" y="0"/>
              <a:ext cx="5613810" cy="472881"/>
            </a:xfrm>
            <a:prstGeom prst="rect">
              <a:avLst/>
            </a:pr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dirty="0"/>
            </a:p>
          </p:txBody>
        </p:sp>
        <p:sp>
          <p:nvSpPr>
            <p:cNvPr id="14" name="Freihandform 23">
              <a:extLst>
                <a:ext uri="{FF2B5EF4-FFF2-40B4-BE49-F238E27FC236}">
                  <a16:creationId xmlns:a16="http://schemas.microsoft.com/office/drawing/2014/main" id="{0A56BF64-24FE-4949-BE19-C4A1B17345F3}"/>
                </a:ext>
              </a:extLst>
            </p:cNvPr>
            <p:cNvSpPr/>
            <p:nvPr/>
          </p:nvSpPr>
          <p:spPr bwMode="gray">
            <a:xfrm>
              <a:off x="796544" y="0"/>
              <a:ext cx="4665472" cy="1036320"/>
            </a:xfrm>
            <a:custGeom>
              <a:avLst/>
              <a:gdLst>
                <a:gd name="connsiteX0" fmla="*/ 0 w 4665472"/>
                <a:gd name="connsiteY0" fmla="*/ 0 h 1036320"/>
                <a:gd name="connsiteX1" fmla="*/ 231648 w 4665472"/>
                <a:gd name="connsiteY1" fmla="*/ 1036320 h 1036320"/>
                <a:gd name="connsiteX2" fmla="*/ 4665472 w 4665472"/>
                <a:gd name="connsiteY2" fmla="*/ 4064 h 1036320"/>
                <a:gd name="connsiteX3" fmla="*/ 0 w 4665472"/>
                <a:gd name="connsiteY3" fmla="*/ 0 h 1036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65472" h="1036320">
                  <a:moveTo>
                    <a:pt x="0" y="0"/>
                  </a:moveTo>
                  <a:lnTo>
                    <a:pt x="231648" y="1036320"/>
                  </a:lnTo>
                  <a:lnTo>
                    <a:pt x="4665472" y="40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sp>
        <p:nvSpPr>
          <p:cNvPr id="16" name="Titel 15">
            <a:extLst>
              <a:ext uri="{FF2B5EF4-FFF2-40B4-BE49-F238E27FC236}">
                <a16:creationId xmlns:a16="http://schemas.microsoft.com/office/drawing/2014/main" id="{543D5F05-F295-463C-98C6-D232C3B83468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2146610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, Text und Bild 01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70EC369-A260-44CE-88B8-A9B8140565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09322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70EC369-A260-44CE-88B8-A9B8140565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57A6501-2E26-4D0D-A6F9-21C7690BFFF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F8779A0-B0FF-4C21-BABB-4F02E5D74F6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4C7D7D-53EA-4ECC-B833-87968F4A84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528D182-E4E8-49E3-8795-36960DA399A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6000" y="1304417"/>
            <a:ext cx="9792000" cy="380104"/>
          </a:xfrm>
        </p:spPr>
        <p:txBody>
          <a:bodyPr>
            <a:spAutoFit/>
          </a:bodyPr>
          <a:lstStyle>
            <a:lvl1pPr marL="0" indent="0">
              <a:lnSpc>
                <a:spcPct val="95000"/>
              </a:lnSpc>
              <a:buFont typeface="Arial" panose="020B0604020202020204" pitchFamily="34" charset="0"/>
              <a:buNone/>
              <a:defRPr sz="2600" b="0" spc="-20" baseline="0">
                <a:solidFill>
                  <a:schemeClr val="tx1"/>
                </a:solidFill>
              </a:defRPr>
            </a:lvl1pPr>
            <a:lvl2pPr marL="0" indent="0">
              <a:lnSpc>
                <a:spcPct val="95000"/>
              </a:lnSpc>
              <a:buFont typeface="Arial" panose="020B0604020202020204" pitchFamily="34" charset="0"/>
              <a:buNone/>
              <a:defRPr sz="2800" b="0">
                <a:solidFill>
                  <a:schemeClr val="tx2"/>
                </a:solidFill>
              </a:defRPr>
            </a:lvl2pPr>
            <a:lvl3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3pPr>
            <a:lvl4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4pPr>
            <a:lvl5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Untertitel durch Klicken bearbeiten (optional)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E0E0C25-96EB-4DA7-8449-811E03DA83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95400" y="1844824"/>
            <a:ext cx="7560000" cy="4176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E6E6BA02-16FD-47F5-91FE-F4AF62815B5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8616640" y="1844824"/>
            <a:ext cx="3240000" cy="3167559"/>
          </a:xfrm>
          <a:solidFill>
            <a:srgbClr val="DCDCDC"/>
          </a:solidFill>
          <a:ln w="12700">
            <a:noFill/>
          </a:ln>
        </p:spPr>
        <p:txBody>
          <a:bodyPr/>
          <a:lstStyle>
            <a:lvl1pPr>
              <a:lnSpc>
                <a:spcPct val="100000"/>
              </a:lnSpc>
              <a:defRPr sz="1800" b="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3DEAFC15-61CE-4990-9219-845F39581B8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855382" y="327932"/>
            <a:ext cx="1017525" cy="662674"/>
          </a:xfrm>
          <a:prstGeom prst="rect">
            <a:avLst/>
          </a:prstGeom>
        </p:spPr>
      </p:pic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615C20CA-AED3-47E9-BB3D-18836C91B789}"/>
              </a:ext>
            </a:extLst>
          </p:cNvPr>
          <p:cNvGrpSpPr/>
          <p:nvPr userDrawn="1"/>
        </p:nvGrpSpPr>
        <p:grpSpPr bwMode="gray">
          <a:xfrm rot="10800000">
            <a:off x="7680175" y="6087015"/>
            <a:ext cx="4176464" cy="770983"/>
            <a:chOff x="266132" y="0"/>
            <a:chExt cx="5613810" cy="1036320"/>
          </a:xfrm>
        </p:grpSpPr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184E506C-CDBD-4BCE-B9DF-01D419F29F53}"/>
                </a:ext>
              </a:extLst>
            </p:cNvPr>
            <p:cNvSpPr/>
            <p:nvPr/>
          </p:nvSpPr>
          <p:spPr bwMode="gray">
            <a:xfrm>
              <a:off x="266132" y="0"/>
              <a:ext cx="5613810" cy="472881"/>
            </a:xfrm>
            <a:prstGeom prst="rect">
              <a:avLst/>
            </a:pr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dirty="0"/>
            </a:p>
          </p:txBody>
        </p:sp>
        <p:sp>
          <p:nvSpPr>
            <p:cNvPr id="14" name="Freihandform 23">
              <a:extLst>
                <a:ext uri="{FF2B5EF4-FFF2-40B4-BE49-F238E27FC236}">
                  <a16:creationId xmlns:a16="http://schemas.microsoft.com/office/drawing/2014/main" id="{88255F82-5F5B-42B6-A8A2-73D1C9020C4E}"/>
                </a:ext>
              </a:extLst>
            </p:cNvPr>
            <p:cNvSpPr/>
            <p:nvPr/>
          </p:nvSpPr>
          <p:spPr bwMode="gray">
            <a:xfrm>
              <a:off x="796544" y="0"/>
              <a:ext cx="4665472" cy="1036320"/>
            </a:xfrm>
            <a:custGeom>
              <a:avLst/>
              <a:gdLst>
                <a:gd name="connsiteX0" fmla="*/ 0 w 4665472"/>
                <a:gd name="connsiteY0" fmla="*/ 0 h 1036320"/>
                <a:gd name="connsiteX1" fmla="*/ 231648 w 4665472"/>
                <a:gd name="connsiteY1" fmla="*/ 1036320 h 1036320"/>
                <a:gd name="connsiteX2" fmla="*/ 4665472 w 4665472"/>
                <a:gd name="connsiteY2" fmla="*/ 4064 h 1036320"/>
                <a:gd name="connsiteX3" fmla="*/ 0 w 4665472"/>
                <a:gd name="connsiteY3" fmla="*/ 0 h 1036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65472" h="1036320">
                  <a:moveTo>
                    <a:pt x="0" y="0"/>
                  </a:moveTo>
                  <a:lnTo>
                    <a:pt x="231648" y="1036320"/>
                  </a:lnTo>
                  <a:lnTo>
                    <a:pt x="4665472" y="40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sp>
        <p:nvSpPr>
          <p:cNvPr id="5" name="Titel 4">
            <a:extLst>
              <a:ext uri="{FF2B5EF4-FFF2-40B4-BE49-F238E27FC236}">
                <a16:creationId xmlns:a16="http://schemas.microsoft.com/office/drawing/2014/main" id="{B378227F-A9D1-43C8-A20F-99AB5E18464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6059119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, Text und Bild 02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70EC369-A260-44CE-88B8-A9B8140565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2274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70EC369-A260-44CE-88B8-A9B8140565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57A6501-2E26-4D0D-A6F9-21C7690BFFF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F8779A0-B0FF-4C21-BABB-4F02E5D74F6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4C7D7D-53EA-4ECC-B833-87968F4A84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528D182-E4E8-49E3-8795-36960DA399A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6000" y="1304417"/>
            <a:ext cx="9792000" cy="380104"/>
          </a:xfrm>
        </p:spPr>
        <p:txBody>
          <a:bodyPr>
            <a:spAutoFit/>
          </a:bodyPr>
          <a:lstStyle>
            <a:lvl1pPr marL="0" indent="0">
              <a:lnSpc>
                <a:spcPct val="95000"/>
              </a:lnSpc>
              <a:buFont typeface="Arial" panose="020B0604020202020204" pitchFamily="34" charset="0"/>
              <a:buNone/>
              <a:defRPr sz="2600" b="0" spc="-20" baseline="0">
                <a:solidFill>
                  <a:schemeClr val="tx1"/>
                </a:solidFill>
              </a:defRPr>
            </a:lvl1pPr>
            <a:lvl2pPr marL="0" indent="0">
              <a:lnSpc>
                <a:spcPct val="95000"/>
              </a:lnSpc>
              <a:buFont typeface="Arial" panose="020B0604020202020204" pitchFamily="34" charset="0"/>
              <a:buNone/>
              <a:defRPr sz="2800" b="0">
                <a:solidFill>
                  <a:schemeClr val="tx2"/>
                </a:solidFill>
              </a:defRPr>
            </a:lvl2pPr>
            <a:lvl3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3pPr>
            <a:lvl4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4pPr>
            <a:lvl5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Untertitel durch Klicken bearbeiten (optional)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E0E0C25-96EB-4DA7-8449-811E03DA83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95400" y="1844824"/>
            <a:ext cx="4536000" cy="4176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E6E6BA02-16FD-47F5-91FE-F4AF62815B5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5592640" y="1844823"/>
            <a:ext cx="6264000" cy="4176000"/>
          </a:xfrm>
          <a:solidFill>
            <a:srgbClr val="DCDCDC"/>
          </a:solidFill>
          <a:ln w="12700">
            <a:noFill/>
          </a:ln>
        </p:spPr>
        <p:txBody>
          <a:bodyPr/>
          <a:lstStyle>
            <a:lvl1pPr>
              <a:lnSpc>
                <a:spcPct val="100000"/>
              </a:lnSpc>
              <a:defRPr sz="1800" b="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1D3A196-EC48-4508-9945-F8EA050616C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7952D025-6E55-485E-B0B2-4589FEB8FE8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855382" y="327932"/>
            <a:ext cx="1017525" cy="662674"/>
          </a:xfrm>
          <a:prstGeom prst="rect">
            <a:avLst/>
          </a:prstGeom>
        </p:spPr>
      </p:pic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87D6CC5-D74E-416B-8882-573423024D85}"/>
              </a:ext>
            </a:extLst>
          </p:cNvPr>
          <p:cNvGrpSpPr/>
          <p:nvPr userDrawn="1"/>
        </p:nvGrpSpPr>
        <p:grpSpPr bwMode="gray">
          <a:xfrm rot="10800000">
            <a:off x="7680175" y="6087015"/>
            <a:ext cx="4176464" cy="770983"/>
            <a:chOff x="266132" y="0"/>
            <a:chExt cx="5613810" cy="1036320"/>
          </a:xfrm>
        </p:grpSpPr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BD231E96-B9D1-442D-8A8E-723DD3699AA9}"/>
                </a:ext>
              </a:extLst>
            </p:cNvPr>
            <p:cNvSpPr/>
            <p:nvPr/>
          </p:nvSpPr>
          <p:spPr bwMode="gray">
            <a:xfrm>
              <a:off x="266132" y="0"/>
              <a:ext cx="5613810" cy="472881"/>
            </a:xfrm>
            <a:prstGeom prst="rect">
              <a:avLst/>
            </a:pr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dirty="0"/>
            </a:p>
          </p:txBody>
        </p:sp>
        <p:sp>
          <p:nvSpPr>
            <p:cNvPr id="15" name="Freihandform 23">
              <a:extLst>
                <a:ext uri="{FF2B5EF4-FFF2-40B4-BE49-F238E27FC236}">
                  <a16:creationId xmlns:a16="http://schemas.microsoft.com/office/drawing/2014/main" id="{EBC9A3D3-ED6B-41B1-A4AE-21F236FB1EFE}"/>
                </a:ext>
              </a:extLst>
            </p:cNvPr>
            <p:cNvSpPr/>
            <p:nvPr/>
          </p:nvSpPr>
          <p:spPr bwMode="gray">
            <a:xfrm>
              <a:off x="796544" y="0"/>
              <a:ext cx="4665472" cy="1036320"/>
            </a:xfrm>
            <a:custGeom>
              <a:avLst/>
              <a:gdLst>
                <a:gd name="connsiteX0" fmla="*/ 0 w 4665472"/>
                <a:gd name="connsiteY0" fmla="*/ 0 h 1036320"/>
                <a:gd name="connsiteX1" fmla="*/ 231648 w 4665472"/>
                <a:gd name="connsiteY1" fmla="*/ 1036320 h 1036320"/>
                <a:gd name="connsiteX2" fmla="*/ 4665472 w 4665472"/>
                <a:gd name="connsiteY2" fmla="*/ 4064 h 1036320"/>
                <a:gd name="connsiteX3" fmla="*/ 0 w 4665472"/>
                <a:gd name="connsiteY3" fmla="*/ 0 h 1036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65472" h="1036320">
                  <a:moveTo>
                    <a:pt x="0" y="0"/>
                  </a:moveTo>
                  <a:lnTo>
                    <a:pt x="231648" y="1036320"/>
                  </a:lnTo>
                  <a:lnTo>
                    <a:pt x="4665472" y="40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</p:spTree>
    <p:extLst>
      <p:ext uri="{BB962C8B-B14F-4D97-AF65-F5344CB8AC3E}">
        <p14:creationId xmlns:p14="http://schemas.microsoft.com/office/powerpoint/2010/main" val="32626282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, Text und zwei Bilder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70EC369-A260-44CE-88B8-A9B8140565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1513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70EC369-A260-44CE-88B8-A9B8140565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57A6501-2E26-4D0D-A6F9-21C7690BFFF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E6E6BA02-16FD-47F5-91FE-F4AF62815B5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695999" y="1844675"/>
            <a:ext cx="6264205" cy="4176713"/>
          </a:xfrm>
          <a:solidFill>
            <a:srgbClr val="DCDCDC"/>
          </a:solidFill>
          <a:ln w="12700">
            <a:noFill/>
          </a:ln>
        </p:spPr>
        <p:txBody>
          <a:bodyPr/>
          <a:lstStyle>
            <a:lvl1pPr>
              <a:lnSpc>
                <a:spcPct val="100000"/>
              </a:lnSpc>
              <a:defRPr sz="1800" b="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F8779A0-B0FF-4C21-BABB-4F02E5D74F6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4C7D7D-53EA-4ECC-B833-87968F4A84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528D182-E4E8-49E3-8795-36960DA399A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6000" y="1304417"/>
            <a:ext cx="9792000" cy="380104"/>
          </a:xfrm>
        </p:spPr>
        <p:txBody>
          <a:bodyPr>
            <a:spAutoFit/>
          </a:bodyPr>
          <a:lstStyle>
            <a:lvl1pPr marL="0" indent="0">
              <a:lnSpc>
                <a:spcPct val="95000"/>
              </a:lnSpc>
              <a:buFont typeface="Arial" panose="020B0604020202020204" pitchFamily="34" charset="0"/>
              <a:buNone/>
              <a:defRPr sz="2600" b="0" spc="-20" baseline="0">
                <a:solidFill>
                  <a:schemeClr val="tx1"/>
                </a:solidFill>
              </a:defRPr>
            </a:lvl1pPr>
            <a:lvl2pPr marL="0" indent="0">
              <a:lnSpc>
                <a:spcPct val="95000"/>
              </a:lnSpc>
              <a:buFont typeface="Arial" panose="020B0604020202020204" pitchFamily="34" charset="0"/>
              <a:buNone/>
              <a:defRPr sz="2800" b="0">
                <a:solidFill>
                  <a:schemeClr val="tx2"/>
                </a:solidFill>
              </a:defRPr>
            </a:lvl2pPr>
            <a:lvl3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3pPr>
            <a:lvl4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4pPr>
            <a:lvl5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Untertitel durch Klicken bearbeiten (optional)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E0E0C25-96EB-4DA7-8449-811E03DA83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7321406" y="4509288"/>
            <a:ext cx="4536616" cy="1512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Bildplatzhalter 7">
            <a:extLst>
              <a:ext uri="{FF2B5EF4-FFF2-40B4-BE49-F238E27FC236}">
                <a16:creationId xmlns:a16="http://schemas.microsoft.com/office/drawing/2014/main" id="{1B81A0A2-5BB2-4205-8498-FA6DD272360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7321054" y="1844825"/>
            <a:ext cx="4535984" cy="2518290"/>
          </a:xfrm>
          <a:solidFill>
            <a:srgbClr val="DCDCDC"/>
          </a:solidFill>
          <a:ln w="12700">
            <a:noFill/>
          </a:ln>
        </p:spPr>
        <p:txBody>
          <a:bodyPr/>
          <a:lstStyle>
            <a:lvl1pPr>
              <a:lnSpc>
                <a:spcPct val="100000"/>
              </a:lnSpc>
              <a:defRPr sz="1800" b="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4EDD9FC-6A21-4E23-BFAA-300CF420CCE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27E8551C-155D-4AF7-ACF2-B6FDDED2651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855382" y="327932"/>
            <a:ext cx="1017525" cy="662674"/>
          </a:xfrm>
          <a:prstGeom prst="rect">
            <a:avLst/>
          </a:prstGeom>
        </p:spPr>
      </p:pic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1AC26E0E-F94F-4B36-8D69-9AF203BB617F}"/>
              </a:ext>
            </a:extLst>
          </p:cNvPr>
          <p:cNvGrpSpPr/>
          <p:nvPr userDrawn="1"/>
        </p:nvGrpSpPr>
        <p:grpSpPr bwMode="gray">
          <a:xfrm rot="10800000">
            <a:off x="7680175" y="6087015"/>
            <a:ext cx="4176464" cy="770983"/>
            <a:chOff x="266132" y="0"/>
            <a:chExt cx="5613810" cy="1036320"/>
          </a:xfrm>
        </p:grpSpPr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65F62815-CBFC-44FF-A36F-6042568BAA2E}"/>
                </a:ext>
              </a:extLst>
            </p:cNvPr>
            <p:cNvSpPr/>
            <p:nvPr/>
          </p:nvSpPr>
          <p:spPr bwMode="gray">
            <a:xfrm>
              <a:off x="266132" y="0"/>
              <a:ext cx="5613810" cy="472881"/>
            </a:xfrm>
            <a:prstGeom prst="rect">
              <a:avLst/>
            </a:pr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dirty="0"/>
            </a:p>
          </p:txBody>
        </p:sp>
        <p:sp>
          <p:nvSpPr>
            <p:cNvPr id="15" name="Freihandform 23">
              <a:extLst>
                <a:ext uri="{FF2B5EF4-FFF2-40B4-BE49-F238E27FC236}">
                  <a16:creationId xmlns:a16="http://schemas.microsoft.com/office/drawing/2014/main" id="{990E615F-CC63-4E22-92EA-C202A7F0E739}"/>
                </a:ext>
              </a:extLst>
            </p:cNvPr>
            <p:cNvSpPr/>
            <p:nvPr/>
          </p:nvSpPr>
          <p:spPr bwMode="gray">
            <a:xfrm>
              <a:off x="796544" y="0"/>
              <a:ext cx="4665472" cy="1036320"/>
            </a:xfrm>
            <a:custGeom>
              <a:avLst/>
              <a:gdLst>
                <a:gd name="connsiteX0" fmla="*/ 0 w 4665472"/>
                <a:gd name="connsiteY0" fmla="*/ 0 h 1036320"/>
                <a:gd name="connsiteX1" fmla="*/ 231648 w 4665472"/>
                <a:gd name="connsiteY1" fmla="*/ 1036320 h 1036320"/>
                <a:gd name="connsiteX2" fmla="*/ 4665472 w 4665472"/>
                <a:gd name="connsiteY2" fmla="*/ 4064 h 1036320"/>
                <a:gd name="connsiteX3" fmla="*/ 0 w 4665472"/>
                <a:gd name="connsiteY3" fmla="*/ 0 h 1036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65472" h="1036320">
                  <a:moveTo>
                    <a:pt x="0" y="0"/>
                  </a:moveTo>
                  <a:lnTo>
                    <a:pt x="231648" y="1036320"/>
                  </a:lnTo>
                  <a:lnTo>
                    <a:pt x="4665472" y="40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</p:spTree>
    <p:extLst>
      <p:ext uri="{BB962C8B-B14F-4D97-AF65-F5344CB8AC3E}">
        <p14:creationId xmlns:p14="http://schemas.microsoft.com/office/powerpoint/2010/main" val="37532159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, Text und drei Bilder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70EC369-A260-44CE-88B8-A9B8140565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60051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70EC369-A260-44CE-88B8-A9B8140565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57A6501-2E26-4D0D-A6F9-21C7690BFFF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F8779A0-B0FF-4C21-BABB-4F02E5D74F6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4C7D7D-53EA-4ECC-B833-87968F4A84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528D182-E4E8-49E3-8795-36960DA399A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6000" y="1304417"/>
            <a:ext cx="9791400" cy="380104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buFont typeface="Arial" panose="020B0604020202020204" pitchFamily="34" charset="0"/>
              <a:buNone/>
              <a:defRPr sz="2600" b="0" spc="-20" baseline="0">
                <a:solidFill>
                  <a:schemeClr val="tx1"/>
                </a:solidFill>
              </a:defRPr>
            </a:lvl1pPr>
            <a:lvl2pPr marL="0" indent="0">
              <a:lnSpc>
                <a:spcPct val="95000"/>
              </a:lnSpc>
              <a:buFont typeface="Arial" panose="020B0604020202020204" pitchFamily="34" charset="0"/>
              <a:buNone/>
              <a:defRPr sz="2800" b="0">
                <a:solidFill>
                  <a:schemeClr val="tx2"/>
                </a:solidFill>
              </a:defRPr>
            </a:lvl2pPr>
            <a:lvl3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3pPr>
            <a:lvl4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4pPr>
            <a:lvl5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Untertitel durch Klicken bearbeiten (optional)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4E0E0C25-96EB-4DA7-8449-811E03DA83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695400" y="1844824"/>
            <a:ext cx="11160000" cy="41760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584B0EFB-3083-43D3-8389-2D02165DB415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0" name="Bildplatzhalter 7">
            <a:extLst>
              <a:ext uri="{FF2B5EF4-FFF2-40B4-BE49-F238E27FC236}">
                <a16:creationId xmlns:a16="http://schemas.microsoft.com/office/drawing/2014/main" id="{6676BE9F-0E1E-4A5B-B76B-49DCDEEDC99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7105987" y="3977283"/>
            <a:ext cx="1508143" cy="2044005"/>
          </a:xfrm>
          <a:solidFill>
            <a:srgbClr val="DCDCDC"/>
          </a:solidFill>
          <a:ln w="12700">
            <a:noFill/>
          </a:ln>
        </p:spPr>
        <p:txBody>
          <a:bodyPr/>
          <a:lstStyle>
            <a:lvl1pPr>
              <a:lnSpc>
                <a:spcPct val="100000"/>
              </a:lnSpc>
              <a:defRPr sz="1800" b="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595F7FA4-3B0A-4F9C-A5F3-5210252369D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8727242" y="3977283"/>
            <a:ext cx="1508143" cy="2044005"/>
          </a:xfrm>
          <a:solidFill>
            <a:srgbClr val="DCDCDC"/>
          </a:solidFill>
          <a:ln w="12700">
            <a:noFill/>
          </a:ln>
        </p:spPr>
        <p:txBody>
          <a:bodyPr/>
          <a:lstStyle>
            <a:lvl1pPr>
              <a:lnSpc>
                <a:spcPct val="100000"/>
              </a:lnSpc>
              <a:defRPr sz="1800" b="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12" name="Bildplatzhalter 7">
            <a:extLst>
              <a:ext uri="{FF2B5EF4-FFF2-40B4-BE49-F238E27FC236}">
                <a16:creationId xmlns:a16="http://schemas.microsoft.com/office/drawing/2014/main" id="{5F9FD67C-EBBC-4FAB-B820-EF8DC86C9F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gray">
          <a:xfrm>
            <a:off x="10348497" y="3977283"/>
            <a:ext cx="1508143" cy="2044005"/>
          </a:xfrm>
          <a:solidFill>
            <a:srgbClr val="DCDCDC"/>
          </a:solidFill>
          <a:ln w="12700">
            <a:noFill/>
          </a:ln>
        </p:spPr>
        <p:txBody>
          <a:bodyPr/>
          <a:lstStyle>
            <a:lvl1pPr>
              <a:lnSpc>
                <a:spcPct val="100000"/>
              </a:lnSpc>
              <a:defRPr sz="1800" b="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ED7672C7-E241-4555-90B4-2E82F879D38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855382" y="327932"/>
            <a:ext cx="1017525" cy="662674"/>
          </a:xfrm>
          <a:prstGeom prst="rect">
            <a:avLst/>
          </a:prstGeom>
        </p:spPr>
      </p:pic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83706F85-3BD2-44D1-8C8B-AE7A76E53DDD}"/>
              </a:ext>
            </a:extLst>
          </p:cNvPr>
          <p:cNvGrpSpPr/>
          <p:nvPr userDrawn="1"/>
        </p:nvGrpSpPr>
        <p:grpSpPr bwMode="gray">
          <a:xfrm rot="10800000">
            <a:off x="7680175" y="6087015"/>
            <a:ext cx="4176464" cy="770983"/>
            <a:chOff x="266132" y="0"/>
            <a:chExt cx="5613810" cy="1036320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36E71BD0-D7C4-431D-A377-A8ADD6934B49}"/>
                </a:ext>
              </a:extLst>
            </p:cNvPr>
            <p:cNvSpPr/>
            <p:nvPr/>
          </p:nvSpPr>
          <p:spPr bwMode="gray">
            <a:xfrm>
              <a:off x="266132" y="0"/>
              <a:ext cx="5613810" cy="472881"/>
            </a:xfrm>
            <a:prstGeom prst="rect">
              <a:avLst/>
            </a:pr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dirty="0"/>
            </a:p>
          </p:txBody>
        </p:sp>
        <p:sp>
          <p:nvSpPr>
            <p:cNvPr id="16" name="Freihandform 23">
              <a:extLst>
                <a:ext uri="{FF2B5EF4-FFF2-40B4-BE49-F238E27FC236}">
                  <a16:creationId xmlns:a16="http://schemas.microsoft.com/office/drawing/2014/main" id="{242C54A5-061B-4450-885B-E26B6A1D565E}"/>
                </a:ext>
              </a:extLst>
            </p:cNvPr>
            <p:cNvSpPr/>
            <p:nvPr/>
          </p:nvSpPr>
          <p:spPr bwMode="gray">
            <a:xfrm>
              <a:off x="796544" y="0"/>
              <a:ext cx="4665472" cy="1036320"/>
            </a:xfrm>
            <a:custGeom>
              <a:avLst/>
              <a:gdLst>
                <a:gd name="connsiteX0" fmla="*/ 0 w 4665472"/>
                <a:gd name="connsiteY0" fmla="*/ 0 h 1036320"/>
                <a:gd name="connsiteX1" fmla="*/ 231648 w 4665472"/>
                <a:gd name="connsiteY1" fmla="*/ 1036320 h 1036320"/>
                <a:gd name="connsiteX2" fmla="*/ 4665472 w 4665472"/>
                <a:gd name="connsiteY2" fmla="*/ 4064 h 1036320"/>
                <a:gd name="connsiteX3" fmla="*/ 0 w 4665472"/>
                <a:gd name="connsiteY3" fmla="*/ 0 h 1036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65472" h="1036320">
                  <a:moveTo>
                    <a:pt x="0" y="0"/>
                  </a:moveTo>
                  <a:lnTo>
                    <a:pt x="231648" y="1036320"/>
                  </a:lnTo>
                  <a:lnTo>
                    <a:pt x="4665472" y="40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</p:spTree>
    <p:extLst>
      <p:ext uri="{BB962C8B-B14F-4D97-AF65-F5344CB8AC3E}">
        <p14:creationId xmlns:p14="http://schemas.microsoft.com/office/powerpoint/2010/main" val="4650322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Diagramm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8486C6F-27DB-4D63-891E-B5FB0A7C8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5588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E7B295ED-4258-4CB1-822E-55597AFAEA4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113000"/>
              </a:lnSpc>
              <a:buFontTx/>
              <a:buNone/>
            </a:pPr>
            <a:endParaRPr lang="de-DE" sz="28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A976E7E-66B6-47D2-9D7B-80700ADEF6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5DB896E-51FE-4379-A762-A8C1C810C5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51A60998-B17B-414D-AD6C-2B6C6C2A763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6000" y="1304417"/>
            <a:ext cx="9792000" cy="380104"/>
          </a:xfrm>
        </p:spPr>
        <p:txBody>
          <a:bodyPr>
            <a:spAutoFit/>
          </a:bodyPr>
          <a:lstStyle>
            <a:lvl1pPr marL="0" indent="0">
              <a:lnSpc>
                <a:spcPct val="95000"/>
              </a:lnSpc>
              <a:buFont typeface="Arial" panose="020B0604020202020204" pitchFamily="34" charset="0"/>
              <a:buNone/>
              <a:defRPr sz="2600" b="0" spc="-20" baseline="0">
                <a:solidFill>
                  <a:schemeClr val="tx1"/>
                </a:solidFill>
              </a:defRPr>
            </a:lvl1pPr>
            <a:lvl2pPr marL="0" indent="0">
              <a:lnSpc>
                <a:spcPct val="95000"/>
              </a:lnSpc>
              <a:buFont typeface="Arial" panose="020B0604020202020204" pitchFamily="34" charset="0"/>
              <a:buNone/>
              <a:defRPr sz="2800" b="0">
                <a:solidFill>
                  <a:schemeClr val="tx2"/>
                </a:solidFill>
              </a:defRPr>
            </a:lvl2pPr>
            <a:lvl3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3pPr>
            <a:lvl4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4pPr>
            <a:lvl5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Untertitel durch Klicken bearbeiten (optional)</a:t>
            </a:r>
          </a:p>
        </p:txBody>
      </p:sp>
      <p:sp>
        <p:nvSpPr>
          <p:cNvPr id="10" name="Diagrammplatzhalter 8">
            <a:extLst>
              <a:ext uri="{FF2B5EF4-FFF2-40B4-BE49-F238E27FC236}">
                <a16:creationId xmlns:a16="http://schemas.microsoft.com/office/drawing/2014/main" id="{CD41A8D7-9ABF-41A5-AC31-A96D184ED173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 bwMode="gray">
          <a:xfrm>
            <a:off x="695399" y="2456892"/>
            <a:ext cx="11160000" cy="3384000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27A6E15E-46AD-46B0-969F-DE0E7F4B78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95325" y="2168860"/>
            <a:ext cx="11160000" cy="217047"/>
          </a:xfrm>
        </p:spPr>
        <p:txBody>
          <a:bodyPr wrap="square">
            <a:spAutoFit/>
          </a:bodyPr>
          <a:lstStyle>
            <a:lvl1pPr marL="0" indent="0">
              <a:buFont typeface="Arial" panose="020B0604020202020204" pitchFamily="34" charset="0"/>
              <a:buNone/>
              <a:defRPr sz="1400" b="0" spc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Platzhalter für die Werteinheit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0F476CC0-3C2A-432C-BD82-AF2D720B63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95325" y="5888879"/>
            <a:ext cx="11160000" cy="132409"/>
          </a:xfrm>
        </p:spPr>
        <p:txBody>
          <a:bodyPr wrap="square" anchor="b">
            <a:spAutoFit/>
          </a:bodyPr>
          <a:lstStyle>
            <a:lvl1pPr marL="0" indent="0">
              <a:buFont typeface="Arial" panose="020B0604020202020204" pitchFamily="34" charset="0"/>
              <a:buNone/>
              <a:defRPr sz="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800" b="0">
                <a:solidFill>
                  <a:schemeClr val="tx1"/>
                </a:solidFill>
              </a:defRPr>
            </a:lvl2pPr>
            <a:lvl3pPr marL="0" indent="0">
              <a:buNone/>
              <a:defRPr sz="800" b="0">
                <a:solidFill>
                  <a:schemeClr val="tx1"/>
                </a:solidFill>
              </a:defRPr>
            </a:lvl3pPr>
            <a:lvl4pPr marL="0" indent="0">
              <a:buNone/>
              <a:defRPr sz="800" b="0">
                <a:solidFill>
                  <a:schemeClr val="tx1"/>
                </a:solidFill>
              </a:defRPr>
            </a:lvl4pPr>
            <a:lvl5pPr marL="0" indent="0">
              <a:buNone/>
              <a:defRPr sz="8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Platzhalter für eine Quellenangabe</a:t>
            </a:r>
            <a:endParaRPr lang="de-DE" dirty="0"/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7B327A21-630C-4CEB-888F-978CF15643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325" y="1844824"/>
            <a:ext cx="11160000" cy="279051"/>
          </a:xfrm>
        </p:spPr>
        <p:txBody>
          <a:bodyPr wrap="square">
            <a:spAutoFit/>
          </a:bodyPr>
          <a:lstStyle>
            <a:lvl1pPr marL="0" indent="0">
              <a:buFont typeface="Arial" panose="020B0604020202020204" pitchFamily="34" charset="0"/>
              <a:buNone/>
              <a:defRPr sz="1800" b="1" spc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2000" b="1">
                <a:solidFill>
                  <a:schemeClr val="tx2"/>
                </a:solidFill>
              </a:defRPr>
            </a:lvl2pPr>
            <a:lvl3pPr marL="0" indent="0">
              <a:buNone/>
              <a:defRPr sz="2000" b="1">
                <a:solidFill>
                  <a:schemeClr val="tx2"/>
                </a:solidFill>
              </a:defRPr>
            </a:lvl3pPr>
            <a:lvl4pPr marL="0" indent="0">
              <a:buNone/>
              <a:defRPr sz="2000" b="1">
                <a:solidFill>
                  <a:schemeClr val="tx2"/>
                </a:solidFill>
              </a:defRPr>
            </a:lvl4pPr>
            <a:lvl5pPr marL="0" indent="0">
              <a:buNone/>
              <a:defRPr sz="2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Platzhalter für den Diagrammtitel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59EF54AA-E088-4B44-BA58-B38E4D57B05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855382" y="327932"/>
            <a:ext cx="1017525" cy="662674"/>
          </a:xfrm>
          <a:prstGeom prst="rect">
            <a:avLst/>
          </a:prstGeom>
        </p:spPr>
      </p:pic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E814CC8A-1EB6-423B-B452-1F8A280DD3C4}"/>
              </a:ext>
            </a:extLst>
          </p:cNvPr>
          <p:cNvGrpSpPr/>
          <p:nvPr userDrawn="1"/>
        </p:nvGrpSpPr>
        <p:grpSpPr bwMode="gray">
          <a:xfrm rot="10800000">
            <a:off x="7680175" y="6087015"/>
            <a:ext cx="4176464" cy="770983"/>
            <a:chOff x="266132" y="0"/>
            <a:chExt cx="5613810" cy="1036320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DA281CFD-7CA9-4D35-B62A-BF859F74B626}"/>
                </a:ext>
              </a:extLst>
            </p:cNvPr>
            <p:cNvSpPr/>
            <p:nvPr/>
          </p:nvSpPr>
          <p:spPr bwMode="gray">
            <a:xfrm>
              <a:off x="266132" y="0"/>
              <a:ext cx="5613810" cy="472881"/>
            </a:xfrm>
            <a:prstGeom prst="rect">
              <a:avLst/>
            </a:pr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dirty="0"/>
            </a:p>
          </p:txBody>
        </p:sp>
        <p:sp>
          <p:nvSpPr>
            <p:cNvPr id="17" name="Freihandform 23">
              <a:extLst>
                <a:ext uri="{FF2B5EF4-FFF2-40B4-BE49-F238E27FC236}">
                  <a16:creationId xmlns:a16="http://schemas.microsoft.com/office/drawing/2014/main" id="{A976137F-33C8-4198-A496-7DF351879A92}"/>
                </a:ext>
              </a:extLst>
            </p:cNvPr>
            <p:cNvSpPr/>
            <p:nvPr/>
          </p:nvSpPr>
          <p:spPr bwMode="gray">
            <a:xfrm>
              <a:off x="796544" y="0"/>
              <a:ext cx="4665472" cy="1036320"/>
            </a:xfrm>
            <a:custGeom>
              <a:avLst/>
              <a:gdLst>
                <a:gd name="connsiteX0" fmla="*/ 0 w 4665472"/>
                <a:gd name="connsiteY0" fmla="*/ 0 h 1036320"/>
                <a:gd name="connsiteX1" fmla="*/ 231648 w 4665472"/>
                <a:gd name="connsiteY1" fmla="*/ 1036320 h 1036320"/>
                <a:gd name="connsiteX2" fmla="*/ 4665472 w 4665472"/>
                <a:gd name="connsiteY2" fmla="*/ 4064 h 1036320"/>
                <a:gd name="connsiteX3" fmla="*/ 0 w 4665472"/>
                <a:gd name="connsiteY3" fmla="*/ 0 h 1036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65472" h="1036320">
                  <a:moveTo>
                    <a:pt x="0" y="0"/>
                  </a:moveTo>
                  <a:lnTo>
                    <a:pt x="231648" y="1036320"/>
                  </a:lnTo>
                  <a:lnTo>
                    <a:pt x="4665472" y="40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sp>
        <p:nvSpPr>
          <p:cNvPr id="7" name="Titel 6">
            <a:extLst>
              <a:ext uri="{FF2B5EF4-FFF2-40B4-BE49-F238E27FC236}">
                <a16:creationId xmlns:a16="http://schemas.microsoft.com/office/drawing/2014/main" id="{FF9F5485-5417-4A16-9E73-3F5CBEDF27D9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2972571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zwei Diagramme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4C90CAB-6876-44AE-9D19-94C1931837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42870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2AF3E650-8E5B-44D8-84E6-4FF463C2F44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113000"/>
              </a:lnSpc>
              <a:buFontTx/>
              <a:buNone/>
            </a:pPr>
            <a:endParaRPr lang="de-DE" sz="28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A976E7E-66B6-47D2-9D7B-80700ADEF6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5DB896E-51FE-4379-A762-A8C1C810C5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F6F0B4EE-00C4-4964-B989-85EE6C79D9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6000" y="1304417"/>
            <a:ext cx="9792000" cy="380104"/>
          </a:xfrm>
        </p:spPr>
        <p:txBody>
          <a:bodyPr>
            <a:spAutoFit/>
          </a:bodyPr>
          <a:lstStyle>
            <a:lvl1pPr marL="0" indent="0">
              <a:lnSpc>
                <a:spcPct val="95000"/>
              </a:lnSpc>
              <a:buFont typeface="Arial" panose="020B0604020202020204" pitchFamily="34" charset="0"/>
              <a:buNone/>
              <a:defRPr sz="2600" b="0" spc="-20" baseline="0">
                <a:solidFill>
                  <a:schemeClr val="tx1"/>
                </a:solidFill>
              </a:defRPr>
            </a:lvl1pPr>
            <a:lvl2pPr marL="0" indent="0">
              <a:lnSpc>
                <a:spcPct val="95000"/>
              </a:lnSpc>
              <a:buFont typeface="Arial" panose="020B0604020202020204" pitchFamily="34" charset="0"/>
              <a:buNone/>
              <a:defRPr sz="2800" b="0">
                <a:solidFill>
                  <a:schemeClr val="tx2"/>
                </a:solidFill>
              </a:defRPr>
            </a:lvl2pPr>
            <a:lvl3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3pPr>
            <a:lvl4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4pPr>
            <a:lvl5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Untertitel durch Klicken bearbeiten (optional)</a:t>
            </a:r>
          </a:p>
        </p:txBody>
      </p:sp>
      <p:sp>
        <p:nvSpPr>
          <p:cNvPr id="14" name="Diagrammplatzhalter 8">
            <a:extLst>
              <a:ext uri="{FF2B5EF4-FFF2-40B4-BE49-F238E27FC236}">
                <a16:creationId xmlns:a16="http://schemas.microsoft.com/office/drawing/2014/main" id="{1B9B64F8-94AE-4D2E-A621-06313D4A0CD8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 bwMode="gray">
          <a:xfrm>
            <a:off x="695398" y="2456892"/>
            <a:ext cx="5292000" cy="3384000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06B01C08-025F-45EF-87DC-2FBA59C16CD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95324" y="2168860"/>
            <a:ext cx="5292000" cy="217047"/>
          </a:xfrm>
        </p:spPr>
        <p:txBody>
          <a:bodyPr wrap="square">
            <a:spAutoFit/>
          </a:bodyPr>
          <a:lstStyle>
            <a:lvl1pPr marL="0" indent="0">
              <a:buFont typeface="Arial" panose="020B0604020202020204" pitchFamily="34" charset="0"/>
              <a:buNone/>
              <a:defRPr sz="1400" b="0" spc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Platzhalter für die Werteinheit</a:t>
            </a:r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5939E0F3-DA9E-4F63-8468-F49D74ACF07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95324" y="5897215"/>
            <a:ext cx="5292000" cy="124073"/>
          </a:xfrm>
        </p:spPr>
        <p:txBody>
          <a:bodyPr wrap="square" anchor="b">
            <a:spAutoFit/>
          </a:bodyPr>
          <a:lstStyle>
            <a:lvl1pPr marL="0" indent="0">
              <a:buFont typeface="Arial" panose="020B0604020202020204" pitchFamily="34" charset="0"/>
              <a:buNone/>
              <a:defRPr sz="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800" b="0">
                <a:solidFill>
                  <a:schemeClr val="tx1"/>
                </a:solidFill>
              </a:defRPr>
            </a:lvl2pPr>
            <a:lvl3pPr marL="0" indent="0">
              <a:buNone/>
              <a:defRPr sz="800" b="0">
                <a:solidFill>
                  <a:schemeClr val="tx1"/>
                </a:solidFill>
              </a:defRPr>
            </a:lvl3pPr>
            <a:lvl4pPr marL="0" indent="0">
              <a:buNone/>
              <a:defRPr sz="800" b="0">
                <a:solidFill>
                  <a:schemeClr val="tx1"/>
                </a:solidFill>
              </a:defRPr>
            </a:lvl4pPr>
            <a:lvl5pPr marL="0" indent="0">
              <a:buNone/>
              <a:defRPr sz="8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Platzhalter für eine Quellenangabe</a:t>
            </a:r>
            <a:endParaRPr lang="de-DE" dirty="0"/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A31FDE6A-7D70-4CAD-8848-1B1E4ABC00B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324" y="1844824"/>
            <a:ext cx="5292000" cy="279051"/>
          </a:xfrm>
        </p:spPr>
        <p:txBody>
          <a:bodyPr wrap="square">
            <a:spAutoFit/>
          </a:bodyPr>
          <a:lstStyle>
            <a:lvl1pPr marL="0" indent="0">
              <a:buFont typeface="Arial" panose="020B0604020202020204" pitchFamily="34" charset="0"/>
              <a:buNone/>
              <a:defRPr sz="1800" b="1" spc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2000" b="1">
                <a:solidFill>
                  <a:schemeClr val="tx2"/>
                </a:solidFill>
              </a:defRPr>
            </a:lvl2pPr>
            <a:lvl3pPr marL="0" indent="0">
              <a:buNone/>
              <a:defRPr sz="2000" b="1">
                <a:solidFill>
                  <a:schemeClr val="tx2"/>
                </a:solidFill>
              </a:defRPr>
            </a:lvl3pPr>
            <a:lvl4pPr marL="0" indent="0">
              <a:buNone/>
              <a:defRPr sz="2000" b="1">
                <a:solidFill>
                  <a:schemeClr val="tx2"/>
                </a:solidFill>
              </a:defRPr>
            </a:lvl4pPr>
            <a:lvl5pPr marL="0" indent="0">
              <a:buNone/>
              <a:defRPr sz="2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Platzhalter für den Diagrammtitel</a:t>
            </a:r>
          </a:p>
        </p:txBody>
      </p:sp>
      <p:sp>
        <p:nvSpPr>
          <p:cNvPr id="18" name="Diagrammplatzhalter 8">
            <a:extLst>
              <a:ext uri="{FF2B5EF4-FFF2-40B4-BE49-F238E27FC236}">
                <a16:creationId xmlns:a16="http://schemas.microsoft.com/office/drawing/2014/main" id="{C66EF096-B96B-4341-A80D-292DF81D2A61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 bwMode="gray">
          <a:xfrm>
            <a:off x="6564127" y="2456892"/>
            <a:ext cx="5292000" cy="3384000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9434AE07-CCB5-420D-A9D4-3930A916F27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564053" y="2168860"/>
            <a:ext cx="5292000" cy="217047"/>
          </a:xfrm>
        </p:spPr>
        <p:txBody>
          <a:bodyPr wrap="square">
            <a:spAutoFit/>
          </a:bodyPr>
          <a:lstStyle>
            <a:lvl1pPr marL="0" indent="0">
              <a:buFont typeface="Arial" panose="020B0604020202020204" pitchFamily="34" charset="0"/>
              <a:buNone/>
              <a:defRPr sz="1400" b="0" spc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Platzhalter für die Werteinheit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E1D749AC-48A8-4A9E-90CD-D71DEB5555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564052" y="5897215"/>
            <a:ext cx="5292000" cy="124073"/>
          </a:xfrm>
        </p:spPr>
        <p:txBody>
          <a:bodyPr wrap="square" anchor="b">
            <a:spAutoFit/>
          </a:bodyPr>
          <a:lstStyle>
            <a:lvl1pPr marL="0" indent="0">
              <a:buFont typeface="Arial" panose="020B0604020202020204" pitchFamily="34" charset="0"/>
              <a:buNone/>
              <a:defRPr sz="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800" b="0">
                <a:solidFill>
                  <a:schemeClr val="tx1"/>
                </a:solidFill>
              </a:defRPr>
            </a:lvl2pPr>
            <a:lvl3pPr marL="0" indent="0">
              <a:buNone/>
              <a:defRPr sz="800" b="0">
                <a:solidFill>
                  <a:schemeClr val="tx1"/>
                </a:solidFill>
              </a:defRPr>
            </a:lvl3pPr>
            <a:lvl4pPr marL="0" indent="0">
              <a:buNone/>
              <a:defRPr sz="800" b="0">
                <a:solidFill>
                  <a:schemeClr val="tx1"/>
                </a:solidFill>
              </a:defRPr>
            </a:lvl4pPr>
            <a:lvl5pPr marL="0" indent="0">
              <a:buNone/>
              <a:defRPr sz="8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Platzhalter für eine Quellenangabe</a:t>
            </a:r>
            <a:endParaRPr lang="de-DE" dirty="0"/>
          </a:p>
        </p:txBody>
      </p:sp>
      <p:sp>
        <p:nvSpPr>
          <p:cNvPr id="21" name="Textplatzhalter 9">
            <a:extLst>
              <a:ext uri="{FF2B5EF4-FFF2-40B4-BE49-F238E27FC236}">
                <a16:creationId xmlns:a16="http://schemas.microsoft.com/office/drawing/2014/main" id="{846F28FA-AD22-411C-98C8-31C25125168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564053" y="1844824"/>
            <a:ext cx="5292000" cy="279051"/>
          </a:xfrm>
        </p:spPr>
        <p:txBody>
          <a:bodyPr wrap="square">
            <a:spAutoFit/>
          </a:bodyPr>
          <a:lstStyle>
            <a:lvl1pPr marL="0" indent="0">
              <a:buFont typeface="Arial" panose="020B0604020202020204" pitchFamily="34" charset="0"/>
              <a:buNone/>
              <a:defRPr sz="1800" b="1" spc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2000" b="1">
                <a:solidFill>
                  <a:schemeClr val="tx2"/>
                </a:solidFill>
              </a:defRPr>
            </a:lvl2pPr>
            <a:lvl3pPr marL="0" indent="0">
              <a:buNone/>
              <a:defRPr sz="2000" b="1">
                <a:solidFill>
                  <a:schemeClr val="tx2"/>
                </a:solidFill>
              </a:defRPr>
            </a:lvl3pPr>
            <a:lvl4pPr marL="0" indent="0">
              <a:buNone/>
              <a:defRPr sz="2000" b="1">
                <a:solidFill>
                  <a:schemeClr val="tx2"/>
                </a:solidFill>
              </a:defRPr>
            </a:lvl4pPr>
            <a:lvl5pPr marL="0" indent="0">
              <a:buNone/>
              <a:defRPr sz="2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Platzhalter für den Diagrammtitel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EDBD2D45-EFD0-46D1-A06F-52549844E3C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28B1E8F4-9108-4ECD-A92F-8471A025B46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855382" y="327932"/>
            <a:ext cx="1017525" cy="662674"/>
          </a:xfrm>
          <a:prstGeom prst="rect">
            <a:avLst/>
          </a:prstGeom>
        </p:spPr>
      </p:pic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567D4DEE-80AE-4E78-9B35-C278EA1A8C71}"/>
              </a:ext>
            </a:extLst>
          </p:cNvPr>
          <p:cNvGrpSpPr/>
          <p:nvPr userDrawn="1"/>
        </p:nvGrpSpPr>
        <p:grpSpPr bwMode="gray">
          <a:xfrm rot="10800000">
            <a:off x="7680175" y="6087015"/>
            <a:ext cx="4176464" cy="770983"/>
            <a:chOff x="266132" y="0"/>
            <a:chExt cx="5613810" cy="1036320"/>
          </a:xfrm>
        </p:grpSpPr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024073EA-3B5D-4F19-9D3C-D8D8744013D0}"/>
                </a:ext>
              </a:extLst>
            </p:cNvPr>
            <p:cNvSpPr/>
            <p:nvPr/>
          </p:nvSpPr>
          <p:spPr bwMode="gray">
            <a:xfrm>
              <a:off x="266132" y="0"/>
              <a:ext cx="5613810" cy="472881"/>
            </a:xfrm>
            <a:prstGeom prst="rect">
              <a:avLst/>
            </a:pr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dirty="0"/>
            </a:p>
          </p:txBody>
        </p:sp>
        <p:sp>
          <p:nvSpPr>
            <p:cNvPr id="25" name="Freihandform 23">
              <a:extLst>
                <a:ext uri="{FF2B5EF4-FFF2-40B4-BE49-F238E27FC236}">
                  <a16:creationId xmlns:a16="http://schemas.microsoft.com/office/drawing/2014/main" id="{D1EEB460-3D9A-4A54-A222-604AE4DABF9D}"/>
                </a:ext>
              </a:extLst>
            </p:cNvPr>
            <p:cNvSpPr/>
            <p:nvPr/>
          </p:nvSpPr>
          <p:spPr bwMode="gray">
            <a:xfrm>
              <a:off x="796544" y="0"/>
              <a:ext cx="4665472" cy="1036320"/>
            </a:xfrm>
            <a:custGeom>
              <a:avLst/>
              <a:gdLst>
                <a:gd name="connsiteX0" fmla="*/ 0 w 4665472"/>
                <a:gd name="connsiteY0" fmla="*/ 0 h 1036320"/>
                <a:gd name="connsiteX1" fmla="*/ 231648 w 4665472"/>
                <a:gd name="connsiteY1" fmla="*/ 1036320 h 1036320"/>
                <a:gd name="connsiteX2" fmla="*/ 4665472 w 4665472"/>
                <a:gd name="connsiteY2" fmla="*/ 4064 h 1036320"/>
                <a:gd name="connsiteX3" fmla="*/ 0 w 4665472"/>
                <a:gd name="connsiteY3" fmla="*/ 0 h 1036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65472" h="1036320">
                  <a:moveTo>
                    <a:pt x="0" y="0"/>
                  </a:moveTo>
                  <a:lnTo>
                    <a:pt x="231648" y="1036320"/>
                  </a:lnTo>
                  <a:lnTo>
                    <a:pt x="4665472" y="40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</p:spTree>
    <p:extLst>
      <p:ext uri="{BB962C8B-B14F-4D97-AF65-F5344CB8AC3E}">
        <p14:creationId xmlns:p14="http://schemas.microsoft.com/office/powerpoint/2010/main" val="28837652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, Diagramm und Text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AE69DCD5-74A1-417F-918A-9610F9EF60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26284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34485626-E85E-4A05-8809-28F5263F80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113000"/>
              </a:lnSpc>
              <a:buFontTx/>
              <a:buNone/>
            </a:pPr>
            <a:endParaRPr lang="de-DE" sz="2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A976E7E-66B6-47D2-9D7B-80700ADEF6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5DB896E-51FE-4379-A762-A8C1C810C5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id="{65CDE058-77AA-4C74-8762-1B3D92A62B1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6000" y="1304417"/>
            <a:ext cx="9792000" cy="380104"/>
          </a:xfrm>
        </p:spPr>
        <p:txBody>
          <a:bodyPr>
            <a:spAutoFit/>
          </a:bodyPr>
          <a:lstStyle>
            <a:lvl1pPr marL="0" indent="0">
              <a:lnSpc>
                <a:spcPct val="95000"/>
              </a:lnSpc>
              <a:buFont typeface="Arial" panose="020B0604020202020204" pitchFamily="34" charset="0"/>
              <a:buNone/>
              <a:defRPr sz="2600" b="0" spc="-20" baseline="0">
                <a:solidFill>
                  <a:schemeClr val="tx1"/>
                </a:solidFill>
              </a:defRPr>
            </a:lvl1pPr>
            <a:lvl2pPr marL="0" indent="0">
              <a:lnSpc>
                <a:spcPct val="95000"/>
              </a:lnSpc>
              <a:buFont typeface="Arial" panose="020B0604020202020204" pitchFamily="34" charset="0"/>
              <a:buNone/>
              <a:defRPr sz="2800" b="0">
                <a:solidFill>
                  <a:schemeClr val="tx2"/>
                </a:solidFill>
              </a:defRPr>
            </a:lvl2pPr>
            <a:lvl3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3pPr>
            <a:lvl4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4pPr>
            <a:lvl5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Untertitel durch Klicken bearbeiten (optional)</a:t>
            </a:r>
          </a:p>
        </p:txBody>
      </p:sp>
      <p:sp>
        <p:nvSpPr>
          <p:cNvPr id="15" name="Diagrammplatzhalter 8">
            <a:extLst>
              <a:ext uri="{FF2B5EF4-FFF2-40B4-BE49-F238E27FC236}">
                <a16:creationId xmlns:a16="http://schemas.microsoft.com/office/drawing/2014/main" id="{F0D70606-C809-4BF1-BC85-924E2AE70E08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 bwMode="gray">
          <a:xfrm>
            <a:off x="695474" y="2456892"/>
            <a:ext cx="6263287" cy="3384000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5E6A5D7E-0143-4CB0-A07E-F4745144D4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95400" y="2168860"/>
            <a:ext cx="6263287" cy="217047"/>
          </a:xfrm>
        </p:spPr>
        <p:txBody>
          <a:bodyPr wrap="square">
            <a:spAutoFit/>
          </a:bodyPr>
          <a:lstStyle>
            <a:lvl1pPr marL="0" indent="0">
              <a:buFont typeface="Arial" panose="020B0604020202020204" pitchFamily="34" charset="0"/>
              <a:buNone/>
              <a:defRPr sz="1400" b="0" spc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Platzhalter für die Werteinheit</a:t>
            </a:r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28272D61-D08D-4B2F-A3DC-835B393C53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95400" y="5897215"/>
            <a:ext cx="6263287" cy="124073"/>
          </a:xfrm>
        </p:spPr>
        <p:txBody>
          <a:bodyPr wrap="square" anchor="b">
            <a:spAutoFit/>
          </a:bodyPr>
          <a:lstStyle>
            <a:lvl1pPr marL="0" indent="0">
              <a:buFont typeface="Arial" panose="020B0604020202020204" pitchFamily="34" charset="0"/>
              <a:buNone/>
              <a:defRPr sz="800" b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800" b="0">
                <a:solidFill>
                  <a:schemeClr val="tx1"/>
                </a:solidFill>
              </a:defRPr>
            </a:lvl2pPr>
            <a:lvl3pPr marL="0" indent="0">
              <a:buNone/>
              <a:defRPr sz="800" b="0">
                <a:solidFill>
                  <a:schemeClr val="tx1"/>
                </a:solidFill>
              </a:defRPr>
            </a:lvl3pPr>
            <a:lvl4pPr marL="0" indent="0">
              <a:buNone/>
              <a:defRPr sz="800" b="0">
                <a:solidFill>
                  <a:schemeClr val="tx1"/>
                </a:solidFill>
              </a:defRPr>
            </a:lvl4pPr>
            <a:lvl5pPr marL="0" indent="0">
              <a:buNone/>
              <a:defRPr sz="8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Platzhalter für eine Quellenangabe</a:t>
            </a:r>
            <a:endParaRPr lang="de-DE" dirty="0"/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21C50330-10AB-480E-8BF9-234F19EBC5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95400" y="1844824"/>
            <a:ext cx="6263287" cy="279051"/>
          </a:xfrm>
        </p:spPr>
        <p:txBody>
          <a:bodyPr wrap="square">
            <a:spAutoFit/>
          </a:bodyPr>
          <a:lstStyle>
            <a:lvl1pPr marL="0" indent="0">
              <a:buFont typeface="Arial" panose="020B0604020202020204" pitchFamily="34" charset="0"/>
              <a:buNone/>
              <a:defRPr sz="1800" b="1" spc="0">
                <a:solidFill>
                  <a:schemeClr val="tx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2000" b="1">
                <a:solidFill>
                  <a:schemeClr val="tx2"/>
                </a:solidFill>
              </a:defRPr>
            </a:lvl2pPr>
            <a:lvl3pPr marL="0" indent="0">
              <a:buNone/>
              <a:defRPr sz="2000" b="1">
                <a:solidFill>
                  <a:schemeClr val="tx2"/>
                </a:solidFill>
              </a:defRPr>
            </a:lvl3pPr>
            <a:lvl4pPr marL="0" indent="0">
              <a:buNone/>
              <a:defRPr sz="2000" b="1">
                <a:solidFill>
                  <a:schemeClr val="tx2"/>
                </a:solidFill>
              </a:defRPr>
            </a:lvl4pPr>
            <a:lvl5pPr marL="0" indent="0">
              <a:buNone/>
              <a:defRPr sz="20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Platzhalter für den Diagrammtitel</a:t>
            </a:r>
          </a:p>
        </p:txBody>
      </p:sp>
      <p:sp>
        <p:nvSpPr>
          <p:cNvPr id="19" name="Textplatzhalter 8">
            <a:extLst>
              <a:ext uri="{FF2B5EF4-FFF2-40B4-BE49-F238E27FC236}">
                <a16:creationId xmlns:a16="http://schemas.microsoft.com/office/drawing/2014/main" id="{BA9753EA-FBA9-4F10-A960-016C1040DB2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7320488" y="1844824"/>
            <a:ext cx="4536550" cy="4176464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BDC5DC26-F8AE-4616-AE61-61A2FC6A64F5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811D0F04-C71D-449D-A913-2E6EC03412A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855382" y="327932"/>
            <a:ext cx="1017525" cy="662674"/>
          </a:xfrm>
          <a:prstGeom prst="rect">
            <a:avLst/>
          </a:prstGeom>
        </p:spPr>
      </p:pic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C4FC241A-1CA6-45F5-8F04-87F6A6A049E9}"/>
              </a:ext>
            </a:extLst>
          </p:cNvPr>
          <p:cNvGrpSpPr/>
          <p:nvPr userDrawn="1"/>
        </p:nvGrpSpPr>
        <p:grpSpPr bwMode="gray">
          <a:xfrm rot="10800000">
            <a:off x="7680175" y="6087015"/>
            <a:ext cx="4176464" cy="770983"/>
            <a:chOff x="266132" y="0"/>
            <a:chExt cx="5613810" cy="1036320"/>
          </a:xfrm>
        </p:grpSpPr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113DAB61-370C-4552-A9ED-7ECFEA01A251}"/>
                </a:ext>
              </a:extLst>
            </p:cNvPr>
            <p:cNvSpPr/>
            <p:nvPr/>
          </p:nvSpPr>
          <p:spPr bwMode="gray">
            <a:xfrm>
              <a:off x="266132" y="0"/>
              <a:ext cx="5613810" cy="472881"/>
            </a:xfrm>
            <a:prstGeom prst="rect">
              <a:avLst/>
            </a:pr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dirty="0"/>
            </a:p>
          </p:txBody>
        </p:sp>
        <p:sp>
          <p:nvSpPr>
            <p:cNvPr id="26" name="Freihandform 23">
              <a:extLst>
                <a:ext uri="{FF2B5EF4-FFF2-40B4-BE49-F238E27FC236}">
                  <a16:creationId xmlns:a16="http://schemas.microsoft.com/office/drawing/2014/main" id="{B6F32F49-51DB-42BD-AD9A-7D90C42B8B58}"/>
                </a:ext>
              </a:extLst>
            </p:cNvPr>
            <p:cNvSpPr/>
            <p:nvPr/>
          </p:nvSpPr>
          <p:spPr bwMode="gray">
            <a:xfrm>
              <a:off x="796544" y="0"/>
              <a:ext cx="4665472" cy="1036320"/>
            </a:xfrm>
            <a:custGeom>
              <a:avLst/>
              <a:gdLst>
                <a:gd name="connsiteX0" fmla="*/ 0 w 4665472"/>
                <a:gd name="connsiteY0" fmla="*/ 0 h 1036320"/>
                <a:gd name="connsiteX1" fmla="*/ 231648 w 4665472"/>
                <a:gd name="connsiteY1" fmla="*/ 1036320 h 1036320"/>
                <a:gd name="connsiteX2" fmla="*/ 4665472 w 4665472"/>
                <a:gd name="connsiteY2" fmla="*/ 4064 h 1036320"/>
                <a:gd name="connsiteX3" fmla="*/ 0 w 4665472"/>
                <a:gd name="connsiteY3" fmla="*/ 0 h 1036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65472" h="1036320">
                  <a:moveTo>
                    <a:pt x="0" y="0"/>
                  </a:moveTo>
                  <a:lnTo>
                    <a:pt x="231648" y="1036320"/>
                  </a:lnTo>
                  <a:lnTo>
                    <a:pt x="4665472" y="40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</p:spTree>
    <p:extLst>
      <p:ext uri="{BB962C8B-B14F-4D97-AF65-F5344CB8AC3E}">
        <p14:creationId xmlns:p14="http://schemas.microsoft.com/office/powerpoint/2010/main" val="21834716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4BDD804C-F6BF-4159-8EF6-9DD51C7ADD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82722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9859744E-6BFE-497C-82B4-FBBA7B3F2A5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113000"/>
              </a:lnSpc>
              <a:buFontTx/>
              <a:buNone/>
            </a:pPr>
            <a:endParaRPr lang="de-DE" sz="2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63D8B59-CDFF-47E1-BD35-8A47228695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D48E52B-61A0-435C-AB12-EAE644826B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Textplatzhalter 5">
            <a:extLst>
              <a:ext uri="{FF2B5EF4-FFF2-40B4-BE49-F238E27FC236}">
                <a16:creationId xmlns:a16="http://schemas.microsoft.com/office/drawing/2014/main" id="{57E136FE-A890-42C9-BE6E-A19CCE0D2B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96000" y="1304417"/>
            <a:ext cx="9792000" cy="380104"/>
          </a:xfrm>
        </p:spPr>
        <p:txBody>
          <a:bodyPr>
            <a:spAutoFit/>
          </a:bodyPr>
          <a:lstStyle>
            <a:lvl1pPr marL="0" indent="0">
              <a:lnSpc>
                <a:spcPct val="95000"/>
              </a:lnSpc>
              <a:buFont typeface="Arial" panose="020B0604020202020204" pitchFamily="34" charset="0"/>
              <a:buNone/>
              <a:defRPr sz="2600" b="0" spc="-20" baseline="0">
                <a:solidFill>
                  <a:schemeClr val="tx1"/>
                </a:solidFill>
              </a:defRPr>
            </a:lvl1pPr>
            <a:lvl2pPr marL="0" indent="0">
              <a:lnSpc>
                <a:spcPct val="95000"/>
              </a:lnSpc>
              <a:buFont typeface="Arial" panose="020B0604020202020204" pitchFamily="34" charset="0"/>
              <a:buNone/>
              <a:defRPr sz="2800" b="0">
                <a:solidFill>
                  <a:schemeClr val="tx2"/>
                </a:solidFill>
              </a:defRPr>
            </a:lvl2pPr>
            <a:lvl3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3pPr>
            <a:lvl4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4pPr>
            <a:lvl5pPr marL="0" indent="0">
              <a:lnSpc>
                <a:spcPct val="95000"/>
              </a:lnSpc>
              <a:buNone/>
              <a:defRPr sz="2800" b="0">
                <a:solidFill>
                  <a:schemeClr val="tx2"/>
                </a:solidFill>
              </a:defRPr>
            </a:lvl5pPr>
          </a:lstStyle>
          <a:p>
            <a:pPr lvl="0"/>
            <a:r>
              <a:rPr lang="de-DE" dirty="0"/>
              <a:t>Untertitel durch Klicken bearbeiten (optional)</a:t>
            </a: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D55A091D-95BC-4116-B785-E1149E76292C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FB89F753-7E79-4A1B-8C97-620D42FBB5F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855382" y="327932"/>
            <a:ext cx="1017525" cy="662674"/>
          </a:xfrm>
          <a:prstGeom prst="rect">
            <a:avLst/>
          </a:prstGeom>
        </p:spPr>
      </p:pic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D466101E-AEDF-4985-B944-713785572A51}"/>
              </a:ext>
            </a:extLst>
          </p:cNvPr>
          <p:cNvGrpSpPr/>
          <p:nvPr userDrawn="1"/>
        </p:nvGrpSpPr>
        <p:grpSpPr bwMode="gray">
          <a:xfrm rot="10800000">
            <a:off x="7680175" y="6087015"/>
            <a:ext cx="4176464" cy="770983"/>
            <a:chOff x="266132" y="0"/>
            <a:chExt cx="5613810" cy="1036320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6279EA32-018A-4E54-A0FF-0AF5810E9770}"/>
                </a:ext>
              </a:extLst>
            </p:cNvPr>
            <p:cNvSpPr/>
            <p:nvPr/>
          </p:nvSpPr>
          <p:spPr bwMode="gray">
            <a:xfrm>
              <a:off x="266132" y="0"/>
              <a:ext cx="5613810" cy="472881"/>
            </a:xfrm>
            <a:prstGeom prst="rect">
              <a:avLst/>
            </a:pr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dirty="0"/>
            </a:p>
          </p:txBody>
        </p:sp>
        <p:sp>
          <p:nvSpPr>
            <p:cNvPr id="12" name="Freihandform 23">
              <a:extLst>
                <a:ext uri="{FF2B5EF4-FFF2-40B4-BE49-F238E27FC236}">
                  <a16:creationId xmlns:a16="http://schemas.microsoft.com/office/drawing/2014/main" id="{D6E180C9-6304-4552-84B5-94FF2E93C9ED}"/>
                </a:ext>
              </a:extLst>
            </p:cNvPr>
            <p:cNvSpPr/>
            <p:nvPr/>
          </p:nvSpPr>
          <p:spPr bwMode="gray">
            <a:xfrm>
              <a:off x="796544" y="0"/>
              <a:ext cx="4665472" cy="1036320"/>
            </a:xfrm>
            <a:custGeom>
              <a:avLst/>
              <a:gdLst>
                <a:gd name="connsiteX0" fmla="*/ 0 w 4665472"/>
                <a:gd name="connsiteY0" fmla="*/ 0 h 1036320"/>
                <a:gd name="connsiteX1" fmla="*/ 231648 w 4665472"/>
                <a:gd name="connsiteY1" fmla="*/ 1036320 h 1036320"/>
                <a:gd name="connsiteX2" fmla="*/ 4665472 w 4665472"/>
                <a:gd name="connsiteY2" fmla="*/ 4064 h 1036320"/>
                <a:gd name="connsiteX3" fmla="*/ 0 w 4665472"/>
                <a:gd name="connsiteY3" fmla="*/ 0 h 1036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65472" h="1036320">
                  <a:moveTo>
                    <a:pt x="0" y="0"/>
                  </a:moveTo>
                  <a:lnTo>
                    <a:pt x="231648" y="1036320"/>
                  </a:lnTo>
                  <a:lnTo>
                    <a:pt x="4665472" y="40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</p:spTree>
    <p:extLst>
      <p:ext uri="{BB962C8B-B14F-4D97-AF65-F5344CB8AC3E}">
        <p14:creationId xmlns:p14="http://schemas.microsoft.com/office/powerpoint/2010/main" val="27822608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4BDD804C-F6BF-4159-8EF6-9DD51C7ADD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0508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4BDD804C-F6BF-4159-8EF6-9DD51C7ADD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9859744E-6BFE-497C-82B4-FBBA7B3F2A5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>
              <a:lnSpc>
                <a:spcPct val="113000"/>
              </a:lnSpc>
              <a:buFontTx/>
              <a:buNone/>
            </a:pPr>
            <a:endParaRPr lang="de-DE" sz="28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F112728F-2BAB-4DEE-8E7E-825B76FF921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855382" y="327932"/>
            <a:ext cx="1017525" cy="662674"/>
          </a:xfrm>
          <a:prstGeom prst="rect">
            <a:avLst/>
          </a:prstGeom>
        </p:spPr>
      </p:pic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FF05885D-BCE9-478A-8EAC-F5FB7B9F8FAB}"/>
              </a:ext>
            </a:extLst>
          </p:cNvPr>
          <p:cNvGrpSpPr/>
          <p:nvPr userDrawn="1"/>
        </p:nvGrpSpPr>
        <p:grpSpPr bwMode="gray">
          <a:xfrm rot="10800000">
            <a:off x="7680175" y="6087015"/>
            <a:ext cx="4176464" cy="770983"/>
            <a:chOff x="266132" y="0"/>
            <a:chExt cx="5613810" cy="1036320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53A20D3C-66E1-4EEF-AC89-0A2027BA8D51}"/>
                </a:ext>
              </a:extLst>
            </p:cNvPr>
            <p:cNvSpPr/>
            <p:nvPr/>
          </p:nvSpPr>
          <p:spPr bwMode="gray">
            <a:xfrm>
              <a:off x="266132" y="0"/>
              <a:ext cx="5613810" cy="472881"/>
            </a:xfrm>
            <a:prstGeom prst="rect">
              <a:avLst/>
            </a:pr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dirty="0"/>
            </a:p>
          </p:txBody>
        </p:sp>
        <p:sp>
          <p:nvSpPr>
            <p:cNvPr id="13" name="Freihandform 23">
              <a:extLst>
                <a:ext uri="{FF2B5EF4-FFF2-40B4-BE49-F238E27FC236}">
                  <a16:creationId xmlns:a16="http://schemas.microsoft.com/office/drawing/2014/main" id="{96B51AFE-122E-4644-BF77-65373A3121A9}"/>
                </a:ext>
              </a:extLst>
            </p:cNvPr>
            <p:cNvSpPr/>
            <p:nvPr/>
          </p:nvSpPr>
          <p:spPr bwMode="gray">
            <a:xfrm>
              <a:off x="796544" y="0"/>
              <a:ext cx="4665472" cy="1036320"/>
            </a:xfrm>
            <a:custGeom>
              <a:avLst/>
              <a:gdLst>
                <a:gd name="connsiteX0" fmla="*/ 0 w 4665472"/>
                <a:gd name="connsiteY0" fmla="*/ 0 h 1036320"/>
                <a:gd name="connsiteX1" fmla="*/ 231648 w 4665472"/>
                <a:gd name="connsiteY1" fmla="*/ 1036320 h 1036320"/>
                <a:gd name="connsiteX2" fmla="*/ 4665472 w 4665472"/>
                <a:gd name="connsiteY2" fmla="*/ 4064 h 1036320"/>
                <a:gd name="connsiteX3" fmla="*/ 0 w 4665472"/>
                <a:gd name="connsiteY3" fmla="*/ 0 h 1036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65472" h="1036320">
                  <a:moveTo>
                    <a:pt x="0" y="0"/>
                  </a:moveTo>
                  <a:lnTo>
                    <a:pt x="231648" y="1036320"/>
                  </a:lnTo>
                  <a:lnTo>
                    <a:pt x="4665472" y="40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9975B0C-DD54-446F-A551-E347FE88314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0839A2B-516F-4DCA-A845-CD0EB62215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673327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607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AB1FCAD8-367F-4098-ABF7-D5042D7F49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20" t="25435" r="39963" b="44178"/>
          <a:stretch/>
        </p:blipFill>
        <p:spPr bwMode="gray">
          <a:xfrm rot="10800000">
            <a:off x="-8778" y="-6858"/>
            <a:ext cx="12200778" cy="6862935"/>
          </a:xfrm>
          <a:prstGeom prst="rect">
            <a:avLst/>
          </a:prstGeom>
        </p:spPr>
      </p:pic>
      <p:sp>
        <p:nvSpPr>
          <p:cNvPr id="15" name="Freihandform 9">
            <a:extLst>
              <a:ext uri="{FF2B5EF4-FFF2-40B4-BE49-F238E27FC236}">
                <a16:creationId xmlns:a16="http://schemas.microsoft.com/office/drawing/2014/main" id="{8314385E-D0BB-4B3D-A6AB-D37E9F470EFF}"/>
              </a:ext>
            </a:extLst>
          </p:cNvPr>
          <p:cNvSpPr/>
          <p:nvPr userDrawn="1"/>
        </p:nvSpPr>
        <p:spPr bwMode="gray">
          <a:xfrm>
            <a:off x="8070994" y="3607950"/>
            <a:ext cx="4126524" cy="3265911"/>
          </a:xfrm>
          <a:custGeom>
            <a:avLst/>
            <a:gdLst>
              <a:gd name="connsiteX0" fmla="*/ 0 w 3094893"/>
              <a:gd name="connsiteY0" fmla="*/ 699247 h 2449433"/>
              <a:gd name="connsiteX1" fmla="*/ 3090755 w 3094893"/>
              <a:gd name="connsiteY1" fmla="*/ 0 h 2449433"/>
              <a:gd name="connsiteX2" fmla="*/ 3094893 w 3094893"/>
              <a:gd name="connsiteY2" fmla="*/ 2449433 h 2449433"/>
              <a:gd name="connsiteX3" fmla="*/ 397206 w 3094893"/>
              <a:gd name="connsiteY3" fmla="*/ 2445296 h 2449433"/>
              <a:gd name="connsiteX4" fmla="*/ 0 w 3094893"/>
              <a:gd name="connsiteY4" fmla="*/ 699247 h 24494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94893" h="2449433">
                <a:moveTo>
                  <a:pt x="0" y="699247"/>
                </a:moveTo>
                <a:lnTo>
                  <a:pt x="3090755" y="0"/>
                </a:lnTo>
                <a:cubicBezTo>
                  <a:pt x="3092134" y="816478"/>
                  <a:pt x="3093514" y="1632955"/>
                  <a:pt x="3094893" y="2449433"/>
                </a:cubicBezTo>
                <a:lnTo>
                  <a:pt x="397206" y="2445296"/>
                </a:lnTo>
                <a:lnTo>
                  <a:pt x="0" y="69924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4EFD84D-7620-4378-B33F-72E1F06AAE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0759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4EFD84D-7620-4378-B33F-72E1F06AA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F6FBC020-F7BC-491F-A515-7633C9383B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31996BA-DEBA-4422-8751-889EF72798A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960000" y="1920000"/>
            <a:ext cx="7920000" cy="526298"/>
          </a:xfrm>
        </p:spPr>
        <p:txBody>
          <a:bodyPr anchor="t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9DAC5A5B-2679-4974-BA5D-19265FF288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0000" y="5079957"/>
            <a:ext cx="6431422" cy="307777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20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2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buNone/>
              <a:defRPr sz="22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buNone/>
              <a:defRPr sz="22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buNone/>
              <a:defRPr sz="22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Kolpingsfamilie Beispielhausen</a:t>
            </a:r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E94ABF0D-D15C-4EE3-B3EB-0D61FAD821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960000" y="5432738"/>
            <a:ext cx="6431422" cy="307777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20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2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buNone/>
              <a:defRPr sz="22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buNone/>
              <a:defRPr sz="22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buNone/>
              <a:defRPr sz="2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T. Monat 20XX</a:t>
            </a:r>
          </a:p>
        </p:txBody>
      </p:sp>
      <p:sp>
        <p:nvSpPr>
          <p:cNvPr id="14" name="Textplatzhalter 10">
            <a:extLst>
              <a:ext uri="{FF2B5EF4-FFF2-40B4-BE49-F238E27FC236}">
                <a16:creationId xmlns:a16="http://schemas.microsoft.com/office/drawing/2014/main" id="{51848211-9774-4D0C-9DA2-0F501977F52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960000" y="5785519"/>
            <a:ext cx="6431422" cy="307777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2000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200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buNone/>
              <a:defRPr sz="2200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buNone/>
              <a:defRPr sz="2200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buNone/>
              <a:defRPr sz="22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Name, Funktion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78A93654-10BB-4A8A-A13A-AE02708FB69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9831968" y="5045190"/>
            <a:ext cx="1664632" cy="1084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55783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ku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70EC369-A260-44CE-88B8-A9B8140565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48116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57A6501-2E26-4D0D-A6F9-21C7690BFFF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4892E2D4-424C-46FF-AA47-98E912DB288C}"/>
              </a:ext>
            </a:extLst>
          </p:cNvPr>
          <p:cNvGrpSpPr/>
          <p:nvPr userDrawn="1"/>
        </p:nvGrpSpPr>
        <p:grpSpPr bwMode="gray">
          <a:xfrm>
            <a:off x="335360" y="0"/>
            <a:ext cx="7488000" cy="1381760"/>
            <a:chOff x="266132" y="0"/>
            <a:chExt cx="5616000" cy="1036320"/>
          </a:xfrm>
        </p:grpSpPr>
        <p:sp>
          <p:nvSpPr>
            <p:cNvPr id="42" name="Rechteck 41">
              <a:extLst>
                <a:ext uri="{FF2B5EF4-FFF2-40B4-BE49-F238E27FC236}">
                  <a16:creationId xmlns:a16="http://schemas.microsoft.com/office/drawing/2014/main" id="{B54A8EF0-E4B2-482B-A627-F406C09520E5}"/>
                </a:ext>
              </a:extLst>
            </p:cNvPr>
            <p:cNvSpPr/>
            <p:nvPr/>
          </p:nvSpPr>
          <p:spPr bwMode="gray">
            <a:xfrm>
              <a:off x="266132" y="0"/>
              <a:ext cx="5616000" cy="472881"/>
            </a:xfrm>
            <a:prstGeom prst="rect">
              <a:avLst/>
            </a:pr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dirty="0"/>
            </a:p>
          </p:txBody>
        </p:sp>
        <p:sp>
          <p:nvSpPr>
            <p:cNvPr id="43" name="Freihandform 14">
              <a:extLst>
                <a:ext uri="{FF2B5EF4-FFF2-40B4-BE49-F238E27FC236}">
                  <a16:creationId xmlns:a16="http://schemas.microsoft.com/office/drawing/2014/main" id="{212C2CB4-145E-4C76-B87B-BAE8045E514A}"/>
                </a:ext>
              </a:extLst>
            </p:cNvPr>
            <p:cNvSpPr/>
            <p:nvPr/>
          </p:nvSpPr>
          <p:spPr bwMode="gray">
            <a:xfrm>
              <a:off x="796544" y="0"/>
              <a:ext cx="4665472" cy="1036320"/>
            </a:xfrm>
            <a:custGeom>
              <a:avLst/>
              <a:gdLst>
                <a:gd name="connsiteX0" fmla="*/ 0 w 4665472"/>
                <a:gd name="connsiteY0" fmla="*/ 0 h 1036320"/>
                <a:gd name="connsiteX1" fmla="*/ 231648 w 4665472"/>
                <a:gd name="connsiteY1" fmla="*/ 1036320 h 1036320"/>
                <a:gd name="connsiteX2" fmla="*/ 4665472 w 4665472"/>
                <a:gd name="connsiteY2" fmla="*/ 4064 h 1036320"/>
                <a:gd name="connsiteX3" fmla="*/ 0 w 4665472"/>
                <a:gd name="connsiteY3" fmla="*/ 0 h 1036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65472" h="1036320">
                  <a:moveTo>
                    <a:pt x="0" y="0"/>
                  </a:moveTo>
                  <a:lnTo>
                    <a:pt x="231648" y="1036320"/>
                  </a:lnTo>
                  <a:lnTo>
                    <a:pt x="4665472" y="40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F8779A0-B0FF-4C21-BABB-4F02E5D74F6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4C7D7D-53EA-4ECC-B833-87968F4A84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A780392-7155-4E24-A2B0-BD0B8A6CD7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35360" y="1844824"/>
            <a:ext cx="1152000" cy="1152000"/>
          </a:xfrm>
          <a:solidFill>
            <a:schemeClr val="bg2"/>
          </a:solidFill>
        </p:spPr>
        <p:txBody>
          <a:bodyPr lIns="234000" tIns="234000" rIns="234000" bIns="234000"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11" name="Textplatzhalter 82">
            <a:extLst>
              <a:ext uri="{FF2B5EF4-FFF2-40B4-BE49-F238E27FC236}">
                <a16:creationId xmlns:a16="http://schemas.microsoft.com/office/drawing/2014/main" id="{355D352E-0F17-44B7-9801-A06EA8AF732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559660" y="1916793"/>
            <a:ext cx="2592388" cy="1008063"/>
          </a:xfrm>
        </p:spPr>
        <p:txBody>
          <a:bodyPr lIns="90000" rIns="90000"/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3pPr>
            <a:lvl4pPr marL="0" indent="0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4pPr>
            <a:lvl5pPr marL="0" indent="0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12" name="Textplatzhalter 82">
            <a:extLst>
              <a:ext uri="{FF2B5EF4-FFF2-40B4-BE49-F238E27FC236}">
                <a16:creationId xmlns:a16="http://schemas.microsoft.com/office/drawing/2014/main" id="{C741FD73-0B03-48E7-BFA6-E91056C063E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88221" y="1916113"/>
            <a:ext cx="828000" cy="1008063"/>
          </a:xfrm>
        </p:spPr>
        <p:txBody>
          <a:bodyPr lIns="0" rIns="0"/>
          <a:lstStyle>
            <a:lvl1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 algn="r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3pPr>
            <a:lvl4pPr marL="0" indent="0" algn="r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4pPr>
            <a:lvl5pPr marL="0" indent="0" algn="r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Seite XX</a:t>
            </a:r>
            <a:endParaRPr lang="en-US" dirty="0"/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96CAA07C-8F3D-4D4F-A54A-253699F1890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5360" y="3357056"/>
            <a:ext cx="1152000" cy="1152000"/>
          </a:xfrm>
          <a:solidFill>
            <a:schemeClr val="bg2"/>
          </a:solidFill>
        </p:spPr>
        <p:txBody>
          <a:bodyPr lIns="234000" tIns="234000" rIns="234000" bIns="234000"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14" name="Textplatzhalter 82">
            <a:extLst>
              <a:ext uri="{FF2B5EF4-FFF2-40B4-BE49-F238E27FC236}">
                <a16:creationId xmlns:a16="http://schemas.microsoft.com/office/drawing/2014/main" id="{690A497F-335E-43F8-A506-EA45B054716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559660" y="3429025"/>
            <a:ext cx="2592388" cy="1008063"/>
          </a:xfrm>
        </p:spPr>
        <p:txBody>
          <a:bodyPr lIns="90000" rIns="90000"/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3pPr>
            <a:lvl4pPr marL="0" indent="0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4pPr>
            <a:lvl5pPr marL="0" indent="0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15" name="Textplatzhalter 82">
            <a:extLst>
              <a:ext uri="{FF2B5EF4-FFF2-40B4-BE49-F238E27FC236}">
                <a16:creationId xmlns:a16="http://schemas.microsoft.com/office/drawing/2014/main" id="{70E65B85-F83B-4686-A8A8-871933BFD2F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188221" y="3428345"/>
            <a:ext cx="828000" cy="1008063"/>
          </a:xfrm>
        </p:spPr>
        <p:txBody>
          <a:bodyPr lIns="0" rIns="0"/>
          <a:lstStyle>
            <a:lvl1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 algn="r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3pPr>
            <a:lvl4pPr marL="0" indent="0" algn="r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4pPr>
            <a:lvl5pPr marL="0" indent="0" algn="r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Seite XX</a:t>
            </a:r>
            <a:endParaRPr lang="en-US" dirty="0"/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BE375428-E513-4390-A044-618F2C0BA69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35360" y="4869288"/>
            <a:ext cx="1152000" cy="1152000"/>
          </a:xfrm>
          <a:solidFill>
            <a:schemeClr val="bg2"/>
          </a:solidFill>
        </p:spPr>
        <p:txBody>
          <a:bodyPr lIns="234000" tIns="234000" rIns="234000" bIns="234000"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17" name="Textplatzhalter 82">
            <a:extLst>
              <a:ext uri="{FF2B5EF4-FFF2-40B4-BE49-F238E27FC236}">
                <a16:creationId xmlns:a16="http://schemas.microsoft.com/office/drawing/2014/main" id="{3B7614FC-7A12-4E9F-B19A-9E05262270F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559660" y="4941257"/>
            <a:ext cx="2592388" cy="1008063"/>
          </a:xfrm>
        </p:spPr>
        <p:txBody>
          <a:bodyPr lIns="90000" rIns="90000"/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3pPr>
            <a:lvl4pPr marL="0" indent="0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4pPr>
            <a:lvl5pPr marL="0" indent="0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18" name="Textplatzhalter 82">
            <a:extLst>
              <a:ext uri="{FF2B5EF4-FFF2-40B4-BE49-F238E27FC236}">
                <a16:creationId xmlns:a16="http://schemas.microsoft.com/office/drawing/2014/main" id="{F12983BC-03BB-4D51-9CE6-BE78CB9BA7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188221" y="4940577"/>
            <a:ext cx="828000" cy="1008063"/>
          </a:xfrm>
        </p:spPr>
        <p:txBody>
          <a:bodyPr lIns="0" rIns="0"/>
          <a:lstStyle>
            <a:lvl1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 algn="r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3pPr>
            <a:lvl4pPr marL="0" indent="0" algn="r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4pPr>
            <a:lvl5pPr marL="0" indent="0" algn="r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Seite XX</a:t>
            </a:r>
            <a:endParaRPr lang="en-US" dirty="0"/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B3697231-2F72-47FB-8FFB-D90B13C1567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5807968" y="1844824"/>
            <a:ext cx="1152000" cy="1152000"/>
          </a:xfrm>
          <a:solidFill>
            <a:schemeClr val="bg2"/>
          </a:solidFill>
        </p:spPr>
        <p:txBody>
          <a:bodyPr lIns="234000" tIns="234000" rIns="234000" bIns="234000"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0" name="Textplatzhalter 82">
            <a:extLst>
              <a:ext uri="{FF2B5EF4-FFF2-40B4-BE49-F238E27FC236}">
                <a16:creationId xmlns:a16="http://schemas.microsoft.com/office/drawing/2014/main" id="{8D55C8D6-9307-4035-8623-D5AAE6F271C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032268" y="1916793"/>
            <a:ext cx="2592388" cy="1008063"/>
          </a:xfrm>
        </p:spPr>
        <p:txBody>
          <a:bodyPr lIns="90000" rIns="90000"/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3pPr>
            <a:lvl4pPr marL="0" indent="0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4pPr>
            <a:lvl5pPr marL="0" indent="0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1" name="Textplatzhalter 82">
            <a:extLst>
              <a:ext uri="{FF2B5EF4-FFF2-40B4-BE49-F238E27FC236}">
                <a16:creationId xmlns:a16="http://schemas.microsoft.com/office/drawing/2014/main" id="{24F85DC3-3771-478F-9FFF-567B3467062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660829" y="1916113"/>
            <a:ext cx="828000" cy="1008063"/>
          </a:xfrm>
        </p:spPr>
        <p:txBody>
          <a:bodyPr lIns="0" rIns="0"/>
          <a:lstStyle>
            <a:lvl1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 algn="r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3pPr>
            <a:lvl4pPr marL="0" indent="0" algn="r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4pPr>
            <a:lvl5pPr marL="0" indent="0" algn="r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Seite XX</a:t>
            </a:r>
            <a:endParaRPr lang="en-US" dirty="0"/>
          </a:p>
        </p:txBody>
      </p:sp>
      <p:sp>
        <p:nvSpPr>
          <p:cNvPr id="22" name="Textplatzhalter 9">
            <a:extLst>
              <a:ext uri="{FF2B5EF4-FFF2-40B4-BE49-F238E27FC236}">
                <a16:creationId xmlns:a16="http://schemas.microsoft.com/office/drawing/2014/main" id="{C2D1D366-C7E5-458D-9085-F1508F7CB1A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5807968" y="3357056"/>
            <a:ext cx="1152000" cy="1152000"/>
          </a:xfrm>
          <a:solidFill>
            <a:schemeClr val="bg2"/>
          </a:solidFill>
        </p:spPr>
        <p:txBody>
          <a:bodyPr lIns="234000" tIns="234000" rIns="234000" bIns="234000"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3" name="Textplatzhalter 82">
            <a:extLst>
              <a:ext uri="{FF2B5EF4-FFF2-40B4-BE49-F238E27FC236}">
                <a16:creationId xmlns:a16="http://schemas.microsoft.com/office/drawing/2014/main" id="{9B0B38D8-684B-4F9F-8601-E99CBB4BC51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7032268" y="3429025"/>
            <a:ext cx="2592388" cy="1008063"/>
          </a:xfrm>
        </p:spPr>
        <p:txBody>
          <a:bodyPr lIns="90000" rIns="90000"/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3pPr>
            <a:lvl4pPr marL="0" indent="0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4pPr>
            <a:lvl5pPr marL="0" indent="0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4" name="Textplatzhalter 82">
            <a:extLst>
              <a:ext uri="{FF2B5EF4-FFF2-40B4-BE49-F238E27FC236}">
                <a16:creationId xmlns:a16="http://schemas.microsoft.com/office/drawing/2014/main" id="{519FAE2D-3EBC-4985-B54F-A4ECDF46B2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9660829" y="3428345"/>
            <a:ext cx="828000" cy="1008063"/>
          </a:xfrm>
        </p:spPr>
        <p:txBody>
          <a:bodyPr lIns="0" rIns="0"/>
          <a:lstStyle>
            <a:lvl1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 algn="r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3pPr>
            <a:lvl4pPr marL="0" indent="0" algn="r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4pPr>
            <a:lvl5pPr marL="0" indent="0" algn="r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Seite XX</a:t>
            </a:r>
            <a:endParaRPr lang="en-US" dirty="0"/>
          </a:p>
        </p:txBody>
      </p:sp>
      <p:sp>
        <p:nvSpPr>
          <p:cNvPr id="25" name="Textplatzhalter 9">
            <a:extLst>
              <a:ext uri="{FF2B5EF4-FFF2-40B4-BE49-F238E27FC236}">
                <a16:creationId xmlns:a16="http://schemas.microsoft.com/office/drawing/2014/main" id="{F73D3040-BECE-463A-BEF0-10C7D07DA8B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5807968" y="4869288"/>
            <a:ext cx="1152000" cy="1152000"/>
          </a:xfrm>
          <a:solidFill>
            <a:schemeClr val="bg2"/>
          </a:solidFill>
        </p:spPr>
        <p:txBody>
          <a:bodyPr lIns="234000" tIns="234000" rIns="234000" bIns="234000"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6" name="Textplatzhalter 82">
            <a:extLst>
              <a:ext uri="{FF2B5EF4-FFF2-40B4-BE49-F238E27FC236}">
                <a16:creationId xmlns:a16="http://schemas.microsoft.com/office/drawing/2014/main" id="{2B2F57F7-8321-42D8-9F4D-2DBE927B8EC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7032268" y="4941257"/>
            <a:ext cx="2592388" cy="1008063"/>
          </a:xfrm>
        </p:spPr>
        <p:txBody>
          <a:bodyPr lIns="90000" rIns="90000"/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3pPr>
            <a:lvl4pPr marL="0" indent="0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4pPr>
            <a:lvl5pPr marL="0" indent="0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7" name="Textplatzhalter 82">
            <a:extLst>
              <a:ext uri="{FF2B5EF4-FFF2-40B4-BE49-F238E27FC236}">
                <a16:creationId xmlns:a16="http://schemas.microsoft.com/office/drawing/2014/main" id="{B195D8C4-F55F-484B-949F-A4EF2508815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9660829" y="4940577"/>
            <a:ext cx="828000" cy="1008063"/>
          </a:xfrm>
        </p:spPr>
        <p:txBody>
          <a:bodyPr lIns="0" rIns="0"/>
          <a:lstStyle>
            <a:lvl1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2pPr>
            <a:lvl3pPr marL="0" indent="0" algn="r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3pPr>
            <a:lvl4pPr marL="0" indent="0" algn="r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4pPr>
            <a:lvl5pPr marL="0" indent="0" algn="r">
              <a:lnSpc>
                <a:spcPct val="90000"/>
              </a:lnSpc>
              <a:buNone/>
              <a:defRPr sz="18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Seite XX</a:t>
            </a:r>
            <a:endParaRPr lang="en-US" dirty="0"/>
          </a:p>
        </p:txBody>
      </p:sp>
      <p:sp>
        <p:nvSpPr>
          <p:cNvPr id="28" name="Textplatzhalter 101">
            <a:extLst>
              <a:ext uri="{FF2B5EF4-FFF2-40B4-BE49-F238E27FC236}">
                <a16:creationId xmlns:a16="http://schemas.microsoft.com/office/drawing/2014/main" id="{DA3F42E5-9205-4E41-A38E-EFAEBBE8C99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559660" y="1844824"/>
            <a:ext cx="3456561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29" name="Textplatzhalter 102">
            <a:extLst>
              <a:ext uri="{FF2B5EF4-FFF2-40B4-BE49-F238E27FC236}">
                <a16:creationId xmlns:a16="http://schemas.microsoft.com/office/drawing/2014/main" id="{4520063F-A82F-4687-BA27-BD1B221DAE8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1559660" y="2989624"/>
            <a:ext cx="3456561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30" name="Textplatzhalter 103">
            <a:extLst>
              <a:ext uri="{FF2B5EF4-FFF2-40B4-BE49-F238E27FC236}">
                <a16:creationId xmlns:a16="http://schemas.microsoft.com/office/drawing/2014/main" id="{D473F87A-3662-4169-809D-5517BDB559C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1559660" y="3357056"/>
            <a:ext cx="3456561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31" name="Textplatzhalter 104">
            <a:extLst>
              <a:ext uri="{FF2B5EF4-FFF2-40B4-BE49-F238E27FC236}">
                <a16:creationId xmlns:a16="http://schemas.microsoft.com/office/drawing/2014/main" id="{6ECFE2DB-08F7-44C0-8EB8-A8EDE400C33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1559660" y="4501856"/>
            <a:ext cx="3456561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32" name="Textplatzhalter 105">
            <a:extLst>
              <a:ext uri="{FF2B5EF4-FFF2-40B4-BE49-F238E27FC236}">
                <a16:creationId xmlns:a16="http://schemas.microsoft.com/office/drawing/2014/main" id="{3AE0099D-F87A-4105-B947-076B5F89D3B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559660" y="4869288"/>
            <a:ext cx="3456561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33" name="Textplatzhalter 106">
            <a:extLst>
              <a:ext uri="{FF2B5EF4-FFF2-40B4-BE49-F238E27FC236}">
                <a16:creationId xmlns:a16="http://schemas.microsoft.com/office/drawing/2014/main" id="{D6A890EE-5BC0-4820-9F88-2FD09FEAB4D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559660" y="6014088"/>
            <a:ext cx="3456561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34" name="Textplatzhalter 107">
            <a:extLst>
              <a:ext uri="{FF2B5EF4-FFF2-40B4-BE49-F238E27FC236}">
                <a16:creationId xmlns:a16="http://schemas.microsoft.com/office/drawing/2014/main" id="{E99079FE-594C-4F6A-8B57-149DA289A63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7031927" y="1844824"/>
            <a:ext cx="3456561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35" name="Textplatzhalter 108">
            <a:extLst>
              <a:ext uri="{FF2B5EF4-FFF2-40B4-BE49-F238E27FC236}">
                <a16:creationId xmlns:a16="http://schemas.microsoft.com/office/drawing/2014/main" id="{EFF86D36-C5BE-4673-A8A6-7D0D947923C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7031927" y="2989624"/>
            <a:ext cx="3456561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36" name="Textplatzhalter 109">
            <a:extLst>
              <a:ext uri="{FF2B5EF4-FFF2-40B4-BE49-F238E27FC236}">
                <a16:creationId xmlns:a16="http://schemas.microsoft.com/office/drawing/2014/main" id="{BF0FA697-8D76-468D-A406-096BAFCCDC3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7031927" y="3357056"/>
            <a:ext cx="3456561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37" name="Textplatzhalter 110">
            <a:extLst>
              <a:ext uri="{FF2B5EF4-FFF2-40B4-BE49-F238E27FC236}">
                <a16:creationId xmlns:a16="http://schemas.microsoft.com/office/drawing/2014/main" id="{E0EBB817-D25B-4AA0-AD29-916EC91E5B9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7031927" y="4501856"/>
            <a:ext cx="3456561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38" name="Textplatzhalter 111">
            <a:extLst>
              <a:ext uri="{FF2B5EF4-FFF2-40B4-BE49-F238E27FC236}">
                <a16:creationId xmlns:a16="http://schemas.microsoft.com/office/drawing/2014/main" id="{4DFA1A67-EEBD-4128-8393-0763099480E6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7031927" y="4869288"/>
            <a:ext cx="3456561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39" name="Textplatzhalter 112">
            <a:extLst>
              <a:ext uri="{FF2B5EF4-FFF2-40B4-BE49-F238E27FC236}">
                <a16:creationId xmlns:a16="http://schemas.microsoft.com/office/drawing/2014/main" id="{9686D589-B98E-445F-9B3E-78ED46059FC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7031927" y="6014088"/>
            <a:ext cx="3456561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2874B01-A1CF-4388-A618-23E47E127A0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324746" y="123360"/>
            <a:ext cx="6336000" cy="380104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pic>
        <p:nvPicPr>
          <p:cNvPr id="49" name="Grafik 48">
            <a:extLst>
              <a:ext uri="{FF2B5EF4-FFF2-40B4-BE49-F238E27FC236}">
                <a16:creationId xmlns:a16="http://schemas.microsoft.com/office/drawing/2014/main" id="{FDA7D9E7-3BE0-431D-92C6-71EB1CA09E1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855382" y="327932"/>
            <a:ext cx="1017525" cy="662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41187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la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70EC369-A260-44CE-88B8-A9B8140565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45138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70EC369-A260-44CE-88B8-A9B8140565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57A6501-2E26-4D0D-A6F9-21C7690BFFF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93" name="Gruppieren 92">
            <a:extLst>
              <a:ext uri="{FF2B5EF4-FFF2-40B4-BE49-F238E27FC236}">
                <a16:creationId xmlns:a16="http://schemas.microsoft.com/office/drawing/2014/main" id="{42CB9BE9-C9FE-4A80-B1C6-73277BFCC9F3}"/>
              </a:ext>
            </a:extLst>
          </p:cNvPr>
          <p:cNvGrpSpPr/>
          <p:nvPr userDrawn="1"/>
        </p:nvGrpSpPr>
        <p:grpSpPr bwMode="gray">
          <a:xfrm>
            <a:off x="335360" y="0"/>
            <a:ext cx="7488000" cy="1381760"/>
            <a:chOff x="266132" y="0"/>
            <a:chExt cx="5616000" cy="1036320"/>
          </a:xfrm>
        </p:grpSpPr>
        <p:sp>
          <p:nvSpPr>
            <p:cNvPr id="94" name="Rechteck 93">
              <a:extLst>
                <a:ext uri="{FF2B5EF4-FFF2-40B4-BE49-F238E27FC236}">
                  <a16:creationId xmlns:a16="http://schemas.microsoft.com/office/drawing/2014/main" id="{B5FEF24F-B24B-4A6D-9F1F-83CB1F736E2A}"/>
                </a:ext>
              </a:extLst>
            </p:cNvPr>
            <p:cNvSpPr/>
            <p:nvPr/>
          </p:nvSpPr>
          <p:spPr bwMode="gray">
            <a:xfrm>
              <a:off x="266132" y="0"/>
              <a:ext cx="5616000" cy="472881"/>
            </a:xfrm>
            <a:prstGeom prst="rect">
              <a:avLst/>
            </a:pr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dirty="0"/>
            </a:p>
          </p:txBody>
        </p:sp>
        <p:sp>
          <p:nvSpPr>
            <p:cNvPr id="95" name="Freihandform 14">
              <a:extLst>
                <a:ext uri="{FF2B5EF4-FFF2-40B4-BE49-F238E27FC236}">
                  <a16:creationId xmlns:a16="http://schemas.microsoft.com/office/drawing/2014/main" id="{21BA2277-2639-4B1A-B2A6-21665B16606F}"/>
                </a:ext>
              </a:extLst>
            </p:cNvPr>
            <p:cNvSpPr/>
            <p:nvPr/>
          </p:nvSpPr>
          <p:spPr bwMode="gray">
            <a:xfrm>
              <a:off x="796544" y="0"/>
              <a:ext cx="4665472" cy="1036320"/>
            </a:xfrm>
            <a:custGeom>
              <a:avLst/>
              <a:gdLst>
                <a:gd name="connsiteX0" fmla="*/ 0 w 4665472"/>
                <a:gd name="connsiteY0" fmla="*/ 0 h 1036320"/>
                <a:gd name="connsiteX1" fmla="*/ 231648 w 4665472"/>
                <a:gd name="connsiteY1" fmla="*/ 1036320 h 1036320"/>
                <a:gd name="connsiteX2" fmla="*/ 4665472 w 4665472"/>
                <a:gd name="connsiteY2" fmla="*/ 4064 h 1036320"/>
                <a:gd name="connsiteX3" fmla="*/ 0 w 4665472"/>
                <a:gd name="connsiteY3" fmla="*/ 0 h 1036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65472" h="1036320">
                  <a:moveTo>
                    <a:pt x="0" y="0"/>
                  </a:moveTo>
                  <a:lnTo>
                    <a:pt x="231648" y="1036320"/>
                  </a:lnTo>
                  <a:lnTo>
                    <a:pt x="4665472" y="40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8C00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F8779A0-B0FF-4C21-BABB-4F02E5D74F6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B4C7D7D-53EA-4ECC-B833-87968F4A84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0" name="Textplatzhalter 9">
            <a:extLst>
              <a:ext uri="{FF2B5EF4-FFF2-40B4-BE49-F238E27FC236}">
                <a16:creationId xmlns:a16="http://schemas.microsoft.com/office/drawing/2014/main" id="{35B9F9B3-EAF1-4065-951D-E1DB65D530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35360" y="1844824"/>
            <a:ext cx="720000" cy="720000"/>
          </a:xfrm>
          <a:solidFill>
            <a:schemeClr val="bg2"/>
          </a:solidFill>
        </p:spPr>
        <p:txBody>
          <a:bodyPr lIns="108000" tIns="54000" rIns="108000" bIns="54000"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41" name="Textplatzhalter 82">
            <a:extLst>
              <a:ext uri="{FF2B5EF4-FFF2-40B4-BE49-F238E27FC236}">
                <a16:creationId xmlns:a16="http://schemas.microsoft.com/office/drawing/2014/main" id="{78499317-3DC9-4106-BC3E-5EEB9B4FE2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127399" y="1932344"/>
            <a:ext cx="3024385" cy="544960"/>
          </a:xfrm>
        </p:spPr>
        <p:txBody>
          <a:bodyPr lIns="90000" rIns="90000"/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42" name="Textplatzhalter 82">
            <a:extLst>
              <a:ext uri="{FF2B5EF4-FFF2-40B4-BE49-F238E27FC236}">
                <a16:creationId xmlns:a16="http://schemas.microsoft.com/office/drawing/2014/main" id="{77C71210-CEC9-40C0-99EB-48397CDEF5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88221" y="1932344"/>
            <a:ext cx="828000" cy="544960"/>
          </a:xfrm>
        </p:spPr>
        <p:txBody>
          <a:bodyPr lIns="0" rIns="0"/>
          <a:lstStyle>
            <a:lvl1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3pPr>
            <a:lvl4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4pPr>
            <a:lvl5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Seite XX</a:t>
            </a:r>
          </a:p>
        </p:txBody>
      </p:sp>
      <p:sp>
        <p:nvSpPr>
          <p:cNvPr id="43" name="Textplatzhalter 9">
            <a:extLst>
              <a:ext uri="{FF2B5EF4-FFF2-40B4-BE49-F238E27FC236}">
                <a16:creationId xmlns:a16="http://schemas.microsoft.com/office/drawing/2014/main" id="{CCEBA3E6-4C9E-4240-8A5E-1B2CB6B52C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5360" y="2708940"/>
            <a:ext cx="720000" cy="720000"/>
          </a:xfrm>
          <a:solidFill>
            <a:schemeClr val="bg2"/>
          </a:solidFill>
        </p:spPr>
        <p:txBody>
          <a:bodyPr lIns="108000" tIns="54000" rIns="108000" bIns="54000"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44" name="Textplatzhalter 82">
            <a:extLst>
              <a:ext uri="{FF2B5EF4-FFF2-40B4-BE49-F238E27FC236}">
                <a16:creationId xmlns:a16="http://schemas.microsoft.com/office/drawing/2014/main" id="{F4F3593F-C1B5-41C3-ADAF-9262A7ACD0F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127399" y="2796460"/>
            <a:ext cx="3024385" cy="544960"/>
          </a:xfrm>
        </p:spPr>
        <p:txBody>
          <a:bodyPr lIns="90000" rIns="90000"/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45" name="Textplatzhalter 82">
            <a:extLst>
              <a:ext uri="{FF2B5EF4-FFF2-40B4-BE49-F238E27FC236}">
                <a16:creationId xmlns:a16="http://schemas.microsoft.com/office/drawing/2014/main" id="{86C50D98-D132-4795-95AA-E8C9CD110F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188221" y="2796460"/>
            <a:ext cx="828000" cy="544960"/>
          </a:xfrm>
        </p:spPr>
        <p:txBody>
          <a:bodyPr lIns="0" rIns="0"/>
          <a:lstStyle>
            <a:lvl1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3pPr>
            <a:lvl4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4pPr>
            <a:lvl5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Seite XX</a:t>
            </a:r>
          </a:p>
        </p:txBody>
      </p:sp>
      <p:sp>
        <p:nvSpPr>
          <p:cNvPr id="46" name="Textplatzhalter 9">
            <a:extLst>
              <a:ext uri="{FF2B5EF4-FFF2-40B4-BE49-F238E27FC236}">
                <a16:creationId xmlns:a16="http://schemas.microsoft.com/office/drawing/2014/main" id="{E0DBF607-F103-492B-B13D-8A0DB705BB1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35360" y="3573056"/>
            <a:ext cx="720000" cy="720000"/>
          </a:xfrm>
          <a:solidFill>
            <a:schemeClr val="bg2"/>
          </a:solidFill>
        </p:spPr>
        <p:txBody>
          <a:bodyPr lIns="108000" tIns="54000" rIns="108000" bIns="54000"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47" name="Textplatzhalter 82">
            <a:extLst>
              <a:ext uri="{FF2B5EF4-FFF2-40B4-BE49-F238E27FC236}">
                <a16:creationId xmlns:a16="http://schemas.microsoft.com/office/drawing/2014/main" id="{C50F5549-3248-4561-A4FA-BC6593D3C9E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127399" y="3660576"/>
            <a:ext cx="3024385" cy="544960"/>
          </a:xfrm>
        </p:spPr>
        <p:txBody>
          <a:bodyPr lIns="90000" rIns="90000"/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48" name="Textplatzhalter 82">
            <a:extLst>
              <a:ext uri="{FF2B5EF4-FFF2-40B4-BE49-F238E27FC236}">
                <a16:creationId xmlns:a16="http://schemas.microsoft.com/office/drawing/2014/main" id="{8CF9FACB-CABF-491F-A442-FBE88AAD1C1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188221" y="3660576"/>
            <a:ext cx="828000" cy="544960"/>
          </a:xfrm>
        </p:spPr>
        <p:txBody>
          <a:bodyPr lIns="0" rIns="0"/>
          <a:lstStyle>
            <a:lvl1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3pPr>
            <a:lvl4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4pPr>
            <a:lvl5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Seite XX</a:t>
            </a:r>
          </a:p>
        </p:txBody>
      </p:sp>
      <p:sp>
        <p:nvSpPr>
          <p:cNvPr id="49" name="Textplatzhalter 9">
            <a:extLst>
              <a:ext uri="{FF2B5EF4-FFF2-40B4-BE49-F238E27FC236}">
                <a16:creationId xmlns:a16="http://schemas.microsoft.com/office/drawing/2014/main" id="{5CDB1A70-6243-428A-BDDA-2F7C4473BDE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35360" y="4437172"/>
            <a:ext cx="720000" cy="720000"/>
          </a:xfrm>
          <a:solidFill>
            <a:schemeClr val="bg2"/>
          </a:solidFill>
        </p:spPr>
        <p:txBody>
          <a:bodyPr lIns="108000" tIns="54000" rIns="108000" bIns="54000"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50" name="Textplatzhalter 82">
            <a:extLst>
              <a:ext uri="{FF2B5EF4-FFF2-40B4-BE49-F238E27FC236}">
                <a16:creationId xmlns:a16="http://schemas.microsoft.com/office/drawing/2014/main" id="{1873D3BB-1625-4701-BD6F-96E5C7911CB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1127399" y="4524692"/>
            <a:ext cx="3024385" cy="544960"/>
          </a:xfrm>
        </p:spPr>
        <p:txBody>
          <a:bodyPr lIns="90000" rIns="90000"/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51" name="Textplatzhalter 82">
            <a:extLst>
              <a:ext uri="{FF2B5EF4-FFF2-40B4-BE49-F238E27FC236}">
                <a16:creationId xmlns:a16="http://schemas.microsoft.com/office/drawing/2014/main" id="{EC0AB892-5789-42BD-93AE-5781A6E104B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188221" y="4524692"/>
            <a:ext cx="828000" cy="544960"/>
          </a:xfrm>
        </p:spPr>
        <p:txBody>
          <a:bodyPr lIns="0" rIns="0"/>
          <a:lstStyle>
            <a:lvl1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3pPr>
            <a:lvl4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4pPr>
            <a:lvl5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Seite XX</a:t>
            </a:r>
          </a:p>
        </p:txBody>
      </p:sp>
      <p:sp>
        <p:nvSpPr>
          <p:cNvPr id="52" name="Textplatzhalter 9">
            <a:extLst>
              <a:ext uri="{FF2B5EF4-FFF2-40B4-BE49-F238E27FC236}">
                <a16:creationId xmlns:a16="http://schemas.microsoft.com/office/drawing/2014/main" id="{B4A1724F-0F67-4DBC-A9E1-3FF6CCF199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35360" y="5301288"/>
            <a:ext cx="720000" cy="720000"/>
          </a:xfrm>
          <a:solidFill>
            <a:schemeClr val="bg2"/>
          </a:solidFill>
        </p:spPr>
        <p:txBody>
          <a:bodyPr lIns="108000" tIns="54000" rIns="108000" bIns="54000"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53" name="Textplatzhalter 82">
            <a:extLst>
              <a:ext uri="{FF2B5EF4-FFF2-40B4-BE49-F238E27FC236}">
                <a16:creationId xmlns:a16="http://schemas.microsoft.com/office/drawing/2014/main" id="{E1769776-05F5-4E93-81F0-F8AEE6E398D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131684" y="5388808"/>
            <a:ext cx="3024385" cy="544960"/>
          </a:xfrm>
        </p:spPr>
        <p:txBody>
          <a:bodyPr lIns="90000" rIns="90000"/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54" name="Textplatzhalter 82">
            <a:extLst>
              <a:ext uri="{FF2B5EF4-FFF2-40B4-BE49-F238E27FC236}">
                <a16:creationId xmlns:a16="http://schemas.microsoft.com/office/drawing/2014/main" id="{3938A0AA-49D7-4B6E-A830-6D6D4D4B7FA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4192506" y="5388808"/>
            <a:ext cx="828000" cy="544960"/>
          </a:xfrm>
        </p:spPr>
        <p:txBody>
          <a:bodyPr lIns="0" rIns="0"/>
          <a:lstStyle>
            <a:lvl1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3pPr>
            <a:lvl4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4pPr>
            <a:lvl5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Seite XX</a:t>
            </a:r>
          </a:p>
        </p:txBody>
      </p:sp>
      <p:sp>
        <p:nvSpPr>
          <p:cNvPr id="55" name="Textplatzhalter 9">
            <a:extLst>
              <a:ext uri="{FF2B5EF4-FFF2-40B4-BE49-F238E27FC236}">
                <a16:creationId xmlns:a16="http://schemas.microsoft.com/office/drawing/2014/main" id="{A2BF05D6-BA8C-4D2D-9EF1-E970F0CE10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5807968" y="1844824"/>
            <a:ext cx="720000" cy="720000"/>
          </a:xfrm>
          <a:solidFill>
            <a:schemeClr val="bg2"/>
          </a:solidFill>
        </p:spPr>
        <p:txBody>
          <a:bodyPr lIns="108000" tIns="54000" rIns="108000" bIns="54000"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56" name="Textplatzhalter 82">
            <a:extLst>
              <a:ext uri="{FF2B5EF4-FFF2-40B4-BE49-F238E27FC236}">
                <a16:creationId xmlns:a16="http://schemas.microsoft.com/office/drawing/2014/main" id="{28A142D5-E9F3-4493-AFC5-23987FAE862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600007" y="1916113"/>
            <a:ext cx="3024385" cy="544960"/>
          </a:xfrm>
        </p:spPr>
        <p:txBody>
          <a:bodyPr lIns="90000" rIns="90000"/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57" name="Textplatzhalter 82">
            <a:extLst>
              <a:ext uri="{FF2B5EF4-FFF2-40B4-BE49-F238E27FC236}">
                <a16:creationId xmlns:a16="http://schemas.microsoft.com/office/drawing/2014/main" id="{042DFD10-0605-4E24-87FE-61D7E2C6C23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9660829" y="1915433"/>
            <a:ext cx="828000" cy="544960"/>
          </a:xfrm>
        </p:spPr>
        <p:txBody>
          <a:bodyPr lIns="0" rIns="0"/>
          <a:lstStyle>
            <a:lvl1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3pPr>
            <a:lvl4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4pPr>
            <a:lvl5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Seite XX</a:t>
            </a:r>
          </a:p>
        </p:txBody>
      </p:sp>
      <p:sp>
        <p:nvSpPr>
          <p:cNvPr id="58" name="Textplatzhalter 9">
            <a:extLst>
              <a:ext uri="{FF2B5EF4-FFF2-40B4-BE49-F238E27FC236}">
                <a16:creationId xmlns:a16="http://schemas.microsoft.com/office/drawing/2014/main" id="{EDB533FB-2886-4FA6-B851-5B5822D2C4E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5807968" y="2708940"/>
            <a:ext cx="720000" cy="720000"/>
          </a:xfrm>
          <a:solidFill>
            <a:schemeClr val="bg2"/>
          </a:solidFill>
        </p:spPr>
        <p:txBody>
          <a:bodyPr lIns="108000" tIns="54000" rIns="108000" bIns="54000"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59" name="Textplatzhalter 82">
            <a:extLst>
              <a:ext uri="{FF2B5EF4-FFF2-40B4-BE49-F238E27FC236}">
                <a16:creationId xmlns:a16="http://schemas.microsoft.com/office/drawing/2014/main" id="{39CEBBBD-1E9F-403B-A544-6DBB42B4C01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600007" y="2780229"/>
            <a:ext cx="3024385" cy="544960"/>
          </a:xfrm>
        </p:spPr>
        <p:txBody>
          <a:bodyPr lIns="90000" rIns="90000"/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60" name="Textplatzhalter 82">
            <a:extLst>
              <a:ext uri="{FF2B5EF4-FFF2-40B4-BE49-F238E27FC236}">
                <a16:creationId xmlns:a16="http://schemas.microsoft.com/office/drawing/2014/main" id="{61FB4CFF-360D-4D29-9130-FAA2340BD8C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9660829" y="2779549"/>
            <a:ext cx="828000" cy="544960"/>
          </a:xfrm>
        </p:spPr>
        <p:txBody>
          <a:bodyPr lIns="0" rIns="0"/>
          <a:lstStyle>
            <a:lvl1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3pPr>
            <a:lvl4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4pPr>
            <a:lvl5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Seite XX</a:t>
            </a:r>
          </a:p>
        </p:txBody>
      </p:sp>
      <p:sp>
        <p:nvSpPr>
          <p:cNvPr id="61" name="Textplatzhalter 9">
            <a:extLst>
              <a:ext uri="{FF2B5EF4-FFF2-40B4-BE49-F238E27FC236}">
                <a16:creationId xmlns:a16="http://schemas.microsoft.com/office/drawing/2014/main" id="{3806ABE0-6BE5-470B-A2EE-B67F4511A92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5807968" y="3573056"/>
            <a:ext cx="720000" cy="720000"/>
          </a:xfrm>
          <a:solidFill>
            <a:schemeClr val="bg2"/>
          </a:solidFill>
        </p:spPr>
        <p:txBody>
          <a:bodyPr lIns="108000" tIns="54000" rIns="108000" bIns="54000"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62" name="Textplatzhalter 82">
            <a:extLst>
              <a:ext uri="{FF2B5EF4-FFF2-40B4-BE49-F238E27FC236}">
                <a16:creationId xmlns:a16="http://schemas.microsoft.com/office/drawing/2014/main" id="{4D049153-007D-4BBB-85E4-CBE5C74BF5D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6600007" y="3644345"/>
            <a:ext cx="3024385" cy="544960"/>
          </a:xfrm>
        </p:spPr>
        <p:txBody>
          <a:bodyPr lIns="90000" rIns="90000"/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63" name="Textplatzhalter 82">
            <a:extLst>
              <a:ext uri="{FF2B5EF4-FFF2-40B4-BE49-F238E27FC236}">
                <a16:creationId xmlns:a16="http://schemas.microsoft.com/office/drawing/2014/main" id="{3DDAEB06-5D2D-4ABC-BD7F-1EE945CB77C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9660829" y="3643665"/>
            <a:ext cx="828000" cy="544960"/>
          </a:xfrm>
        </p:spPr>
        <p:txBody>
          <a:bodyPr lIns="0" rIns="0"/>
          <a:lstStyle>
            <a:lvl1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3pPr>
            <a:lvl4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4pPr>
            <a:lvl5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Seite XX</a:t>
            </a:r>
          </a:p>
        </p:txBody>
      </p:sp>
      <p:sp>
        <p:nvSpPr>
          <p:cNvPr id="64" name="Textplatzhalter 9">
            <a:extLst>
              <a:ext uri="{FF2B5EF4-FFF2-40B4-BE49-F238E27FC236}">
                <a16:creationId xmlns:a16="http://schemas.microsoft.com/office/drawing/2014/main" id="{ABA3EFC1-0BAF-4F8D-94D8-CEF902A9ECC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5807968" y="4437172"/>
            <a:ext cx="720000" cy="720000"/>
          </a:xfrm>
          <a:solidFill>
            <a:schemeClr val="bg2"/>
          </a:solidFill>
        </p:spPr>
        <p:txBody>
          <a:bodyPr lIns="108000" tIns="54000" rIns="108000" bIns="54000"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65" name="Textplatzhalter 82">
            <a:extLst>
              <a:ext uri="{FF2B5EF4-FFF2-40B4-BE49-F238E27FC236}">
                <a16:creationId xmlns:a16="http://schemas.microsoft.com/office/drawing/2014/main" id="{600C93E2-0734-43BF-882E-31D7F2727BA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6600007" y="4508461"/>
            <a:ext cx="3024385" cy="544960"/>
          </a:xfrm>
        </p:spPr>
        <p:txBody>
          <a:bodyPr lIns="90000" rIns="90000"/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66" name="Textplatzhalter 82">
            <a:extLst>
              <a:ext uri="{FF2B5EF4-FFF2-40B4-BE49-F238E27FC236}">
                <a16:creationId xmlns:a16="http://schemas.microsoft.com/office/drawing/2014/main" id="{5103B6A0-5CDB-497B-AD6A-3A8C6E7A341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9660829" y="4507781"/>
            <a:ext cx="828000" cy="544960"/>
          </a:xfrm>
        </p:spPr>
        <p:txBody>
          <a:bodyPr lIns="0" rIns="0"/>
          <a:lstStyle>
            <a:lvl1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3pPr>
            <a:lvl4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4pPr>
            <a:lvl5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Seite XX</a:t>
            </a:r>
          </a:p>
        </p:txBody>
      </p:sp>
      <p:sp>
        <p:nvSpPr>
          <p:cNvPr id="67" name="Textplatzhalter 9">
            <a:extLst>
              <a:ext uri="{FF2B5EF4-FFF2-40B4-BE49-F238E27FC236}">
                <a16:creationId xmlns:a16="http://schemas.microsoft.com/office/drawing/2014/main" id="{29937C41-162E-4BB3-8A72-061E7EA32BD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5807968" y="5301288"/>
            <a:ext cx="720000" cy="720000"/>
          </a:xfrm>
          <a:solidFill>
            <a:schemeClr val="bg2"/>
          </a:solidFill>
        </p:spPr>
        <p:txBody>
          <a:bodyPr lIns="108000" tIns="54000" rIns="108000" bIns="54000"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3800" b="0" i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buNone/>
              <a:defRPr sz="3800" b="0" i="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68" name="Textplatzhalter 82">
            <a:extLst>
              <a:ext uri="{FF2B5EF4-FFF2-40B4-BE49-F238E27FC236}">
                <a16:creationId xmlns:a16="http://schemas.microsoft.com/office/drawing/2014/main" id="{B19EB045-9726-4A2B-A216-CAF1A9990DC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600007" y="5372577"/>
            <a:ext cx="3024385" cy="544960"/>
          </a:xfrm>
        </p:spPr>
        <p:txBody>
          <a:bodyPr lIns="90000" rIns="90000"/>
          <a:lstStyle>
            <a:lvl1pPr marL="0" indent="0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3pPr>
            <a:lvl4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4pPr>
            <a:lvl5pPr marL="0" indent="0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69" name="Textplatzhalter 82">
            <a:extLst>
              <a:ext uri="{FF2B5EF4-FFF2-40B4-BE49-F238E27FC236}">
                <a16:creationId xmlns:a16="http://schemas.microsoft.com/office/drawing/2014/main" id="{CBA5B8ED-8F6A-4296-AFB1-D73FC2C68F4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9660829" y="5371897"/>
            <a:ext cx="828000" cy="544960"/>
          </a:xfrm>
        </p:spPr>
        <p:txBody>
          <a:bodyPr lIns="0" rIns="0"/>
          <a:lstStyle>
            <a:lvl1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 algn="r">
              <a:lnSpc>
                <a:spcPct val="90000"/>
              </a:lnSpc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3pPr>
            <a:lvl4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4pPr>
            <a:lvl5pPr marL="0" indent="0" algn="r">
              <a:lnSpc>
                <a:spcPct val="90000"/>
              </a:lnSpc>
              <a:buNone/>
              <a:defRPr sz="1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Seite XX</a:t>
            </a:r>
          </a:p>
        </p:txBody>
      </p:sp>
      <p:sp>
        <p:nvSpPr>
          <p:cNvPr id="70" name="Textplatzhalter 51">
            <a:extLst>
              <a:ext uri="{FF2B5EF4-FFF2-40B4-BE49-F238E27FC236}">
                <a16:creationId xmlns:a16="http://schemas.microsoft.com/office/drawing/2014/main" id="{772CDC26-C99C-46D9-91B6-CA61748E382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1127447" y="1844824"/>
            <a:ext cx="3888000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71" name="Textplatzhalter 52">
            <a:extLst>
              <a:ext uri="{FF2B5EF4-FFF2-40B4-BE49-F238E27FC236}">
                <a16:creationId xmlns:a16="http://schemas.microsoft.com/office/drawing/2014/main" id="{AFF02405-5C8C-46B4-A573-2429B769D7C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127447" y="2557624"/>
            <a:ext cx="3888000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72" name="Textplatzhalter 53">
            <a:extLst>
              <a:ext uri="{FF2B5EF4-FFF2-40B4-BE49-F238E27FC236}">
                <a16:creationId xmlns:a16="http://schemas.microsoft.com/office/drawing/2014/main" id="{F22DA2E3-8053-437C-A653-9E97D3CC11A9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1127447" y="2708940"/>
            <a:ext cx="3888000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73" name="Textplatzhalter 54">
            <a:extLst>
              <a:ext uri="{FF2B5EF4-FFF2-40B4-BE49-F238E27FC236}">
                <a16:creationId xmlns:a16="http://schemas.microsoft.com/office/drawing/2014/main" id="{6912DF41-71B5-4C20-9BCD-347F2A78890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1127447" y="3421740"/>
            <a:ext cx="3888000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74" name="Textplatzhalter 55">
            <a:extLst>
              <a:ext uri="{FF2B5EF4-FFF2-40B4-BE49-F238E27FC236}">
                <a16:creationId xmlns:a16="http://schemas.microsoft.com/office/drawing/2014/main" id="{8446AF06-29B5-4A05-8D06-FC21362B1CD8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1127447" y="3573056"/>
            <a:ext cx="3888000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75" name="Textplatzhalter 56">
            <a:extLst>
              <a:ext uri="{FF2B5EF4-FFF2-40B4-BE49-F238E27FC236}">
                <a16:creationId xmlns:a16="http://schemas.microsoft.com/office/drawing/2014/main" id="{0D772C00-2C31-4D75-82C0-34499F17C877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1127447" y="4285856"/>
            <a:ext cx="3888000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76" name="Textplatzhalter 57">
            <a:extLst>
              <a:ext uri="{FF2B5EF4-FFF2-40B4-BE49-F238E27FC236}">
                <a16:creationId xmlns:a16="http://schemas.microsoft.com/office/drawing/2014/main" id="{38365EE8-1999-47BD-AC5B-5F3A1F16AB8F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1127447" y="4437172"/>
            <a:ext cx="3888000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77" name="Textplatzhalter 58">
            <a:extLst>
              <a:ext uri="{FF2B5EF4-FFF2-40B4-BE49-F238E27FC236}">
                <a16:creationId xmlns:a16="http://schemas.microsoft.com/office/drawing/2014/main" id="{B430C041-E697-45CD-ACC6-4ED78367530E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27447" y="5149972"/>
            <a:ext cx="3888000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78" name="Textplatzhalter 59">
            <a:extLst>
              <a:ext uri="{FF2B5EF4-FFF2-40B4-BE49-F238E27FC236}">
                <a16:creationId xmlns:a16="http://schemas.microsoft.com/office/drawing/2014/main" id="{3C916007-D930-4A85-AEAC-7D292F7BFA42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27447" y="5301288"/>
            <a:ext cx="3888000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79" name="Textplatzhalter 60">
            <a:extLst>
              <a:ext uri="{FF2B5EF4-FFF2-40B4-BE49-F238E27FC236}">
                <a16:creationId xmlns:a16="http://schemas.microsoft.com/office/drawing/2014/main" id="{0AC4DC9D-BEB6-414F-8DCC-47FCE1ECE8CB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1127447" y="6014088"/>
            <a:ext cx="3888000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80" name="Textplatzhalter 61">
            <a:extLst>
              <a:ext uri="{FF2B5EF4-FFF2-40B4-BE49-F238E27FC236}">
                <a16:creationId xmlns:a16="http://schemas.microsoft.com/office/drawing/2014/main" id="{497AFD84-A10C-4F99-A83F-1DEE6AFC788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6600488" y="1844824"/>
            <a:ext cx="3888000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81" name="Textplatzhalter 62">
            <a:extLst>
              <a:ext uri="{FF2B5EF4-FFF2-40B4-BE49-F238E27FC236}">
                <a16:creationId xmlns:a16="http://schemas.microsoft.com/office/drawing/2014/main" id="{5FE636DF-8C0E-48B9-9F23-4656B9A1D414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6600488" y="2557624"/>
            <a:ext cx="3888000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82" name="Textplatzhalter 63">
            <a:extLst>
              <a:ext uri="{FF2B5EF4-FFF2-40B4-BE49-F238E27FC236}">
                <a16:creationId xmlns:a16="http://schemas.microsoft.com/office/drawing/2014/main" id="{E751BDC7-A011-4CDB-AEE5-559753A8FA8D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6600488" y="2708940"/>
            <a:ext cx="3888000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83" name="Textplatzhalter 64">
            <a:extLst>
              <a:ext uri="{FF2B5EF4-FFF2-40B4-BE49-F238E27FC236}">
                <a16:creationId xmlns:a16="http://schemas.microsoft.com/office/drawing/2014/main" id="{658B2CAC-C469-4949-85A5-5D52F10ECDC3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6600488" y="3421740"/>
            <a:ext cx="3888000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84" name="Textplatzhalter 65">
            <a:extLst>
              <a:ext uri="{FF2B5EF4-FFF2-40B4-BE49-F238E27FC236}">
                <a16:creationId xmlns:a16="http://schemas.microsoft.com/office/drawing/2014/main" id="{A892D383-C1C5-4A23-832D-EDDD07920D8B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 bwMode="gray">
          <a:xfrm>
            <a:off x="6600488" y="3573056"/>
            <a:ext cx="3888000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85" name="Textplatzhalter 66">
            <a:extLst>
              <a:ext uri="{FF2B5EF4-FFF2-40B4-BE49-F238E27FC236}">
                <a16:creationId xmlns:a16="http://schemas.microsoft.com/office/drawing/2014/main" id="{DA6F531F-8FF8-452F-B3DE-ED6B9FC3556F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 bwMode="gray">
          <a:xfrm>
            <a:off x="6600488" y="4285856"/>
            <a:ext cx="3888000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86" name="Textplatzhalter 67">
            <a:extLst>
              <a:ext uri="{FF2B5EF4-FFF2-40B4-BE49-F238E27FC236}">
                <a16:creationId xmlns:a16="http://schemas.microsoft.com/office/drawing/2014/main" id="{405C3856-87DE-4212-98BC-701A81A488D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 bwMode="gray">
          <a:xfrm>
            <a:off x="6600488" y="4437172"/>
            <a:ext cx="3888000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87" name="Textplatzhalter 68">
            <a:extLst>
              <a:ext uri="{FF2B5EF4-FFF2-40B4-BE49-F238E27FC236}">
                <a16:creationId xmlns:a16="http://schemas.microsoft.com/office/drawing/2014/main" id="{52A9B99C-A559-4665-9CA4-72C873B432A3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 bwMode="gray">
          <a:xfrm>
            <a:off x="6600488" y="5149972"/>
            <a:ext cx="3888000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88" name="Textplatzhalter 69">
            <a:extLst>
              <a:ext uri="{FF2B5EF4-FFF2-40B4-BE49-F238E27FC236}">
                <a16:creationId xmlns:a16="http://schemas.microsoft.com/office/drawing/2014/main" id="{5F050D35-FDE4-4B8B-9426-7E10E5C7C74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 bwMode="gray">
          <a:xfrm>
            <a:off x="6600488" y="5301288"/>
            <a:ext cx="3888000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89" name="Textplatzhalter 70">
            <a:extLst>
              <a:ext uri="{FF2B5EF4-FFF2-40B4-BE49-F238E27FC236}">
                <a16:creationId xmlns:a16="http://schemas.microsoft.com/office/drawing/2014/main" id="{663B3819-7EF4-408D-8E49-7308DFD4583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 bwMode="gray">
          <a:xfrm>
            <a:off x="6600488" y="6014088"/>
            <a:ext cx="3888000" cy="7200"/>
          </a:xfrm>
          <a:custGeom>
            <a:avLst/>
            <a:gdLst>
              <a:gd name="connsiteX0" fmla="*/ 0 w 3464042"/>
              <a:gd name="connsiteY0" fmla="*/ 0 h 7200"/>
              <a:gd name="connsiteX1" fmla="*/ 3462389 w 3464042"/>
              <a:gd name="connsiteY1" fmla="*/ 0 h 7200"/>
              <a:gd name="connsiteX2" fmla="*/ 3464042 w 3464042"/>
              <a:gd name="connsiteY2" fmla="*/ 7200 h 7200"/>
              <a:gd name="connsiteX3" fmla="*/ 0 w 3464042"/>
              <a:gd name="connsiteY3" fmla="*/ 7200 h 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64042" h="7200">
                <a:moveTo>
                  <a:pt x="0" y="0"/>
                </a:moveTo>
                <a:lnTo>
                  <a:pt x="3462389" y="0"/>
                </a:lnTo>
                <a:lnTo>
                  <a:pt x="3464042" y="7200"/>
                </a:lnTo>
                <a:lnTo>
                  <a:pt x="0" y="72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1pPr>
            <a:lvl2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100" b="0" spc="-240" baseline="0">
                <a:noFill/>
              </a:defRPr>
            </a:lvl2pPr>
            <a:lvl3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3pPr>
            <a:lvl4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4pPr>
            <a:lvl5pPr marL="0" indent="0" algn="l">
              <a:lnSpc>
                <a:spcPct val="100000"/>
              </a:lnSpc>
              <a:buNone/>
              <a:defRPr sz="100" b="0" spc="-240" baseline="0">
                <a:noFill/>
              </a:defRPr>
            </a:lvl5pPr>
          </a:lstStyle>
          <a:p>
            <a:pPr lvl="0"/>
            <a:r>
              <a:rPr lang="de-DE" dirty="0"/>
              <a:t>Text</a:t>
            </a:r>
          </a:p>
          <a:p>
            <a:pPr lvl="1"/>
            <a:r>
              <a:rPr lang="de-DE" dirty="0"/>
              <a:t>Text</a:t>
            </a:r>
          </a:p>
          <a:p>
            <a:pPr lvl="2"/>
            <a:r>
              <a:rPr lang="de-DE" dirty="0"/>
              <a:t>Text</a:t>
            </a:r>
          </a:p>
          <a:p>
            <a:pPr lvl="3"/>
            <a:r>
              <a:rPr lang="de-DE" dirty="0"/>
              <a:t>Text</a:t>
            </a:r>
          </a:p>
          <a:p>
            <a:pPr lvl="4"/>
            <a:r>
              <a:rPr lang="de-DE" dirty="0"/>
              <a:t>Tex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2874B01-A1CF-4388-A618-23E47E127A0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324746" y="123360"/>
            <a:ext cx="6336000" cy="380104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9447645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6607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>
            <a:extLst>
              <a:ext uri="{FF2B5EF4-FFF2-40B4-BE49-F238E27FC236}">
                <a16:creationId xmlns:a16="http://schemas.microsoft.com/office/drawing/2014/main" id="{B24506A3-F408-4E13-84C3-6AE9DA606E12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66" t="38354" r="54668" b="31258"/>
          <a:stretch/>
        </p:blipFill>
        <p:spPr bwMode="gray">
          <a:xfrm rot="10800000">
            <a:off x="-8" y="0"/>
            <a:ext cx="12206519" cy="6858000"/>
          </a:xfrm>
          <a:prstGeom prst="rect">
            <a:avLst/>
          </a:prstGeom>
        </p:spPr>
      </p:pic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D33A6B35-9347-4486-B948-3D5F21A29274}"/>
              </a:ext>
            </a:extLst>
          </p:cNvPr>
          <p:cNvSpPr/>
          <p:nvPr userDrawn="1"/>
        </p:nvSpPr>
        <p:spPr bwMode="gray">
          <a:xfrm>
            <a:off x="5868279" y="0"/>
            <a:ext cx="6323721" cy="6858000"/>
          </a:xfrm>
          <a:custGeom>
            <a:avLst/>
            <a:gdLst>
              <a:gd name="connsiteX0" fmla="*/ 0 w 6323721"/>
              <a:gd name="connsiteY0" fmla="*/ 0 h 6858000"/>
              <a:gd name="connsiteX1" fmla="*/ 6323721 w 6323721"/>
              <a:gd name="connsiteY1" fmla="*/ 0 h 6858000"/>
              <a:gd name="connsiteX2" fmla="*/ 6323721 w 6323721"/>
              <a:gd name="connsiteY2" fmla="*/ 6858000 h 6858000"/>
              <a:gd name="connsiteX3" fmla="*/ 1559293 w 6323721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323721" h="6858000">
                <a:moveTo>
                  <a:pt x="0" y="0"/>
                </a:moveTo>
                <a:lnTo>
                  <a:pt x="6323721" y="0"/>
                </a:lnTo>
                <a:lnTo>
                  <a:pt x="6323721" y="6858000"/>
                </a:lnTo>
                <a:lnTo>
                  <a:pt x="1559293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2400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D465AF7-5505-4EB6-B212-0A1089202E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0883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ED465AF7-5505-4EB6-B212-0A1089202E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A9F9EF0D-C34A-427A-819C-F098A1F2978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4DA30996-C27C-4DAD-82D5-502DC22EC03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9831968" y="5045190"/>
            <a:ext cx="1664632" cy="1084110"/>
          </a:xfrm>
          <a:prstGeom prst="rect">
            <a:avLst/>
          </a:prstGeom>
        </p:spPr>
      </p:pic>
      <p:sp>
        <p:nvSpPr>
          <p:cNvPr id="18" name="Rechteck 17">
            <a:extLst>
              <a:ext uri="{FF2B5EF4-FFF2-40B4-BE49-F238E27FC236}">
                <a16:creationId xmlns:a16="http://schemas.microsoft.com/office/drawing/2014/main" id="{2B097AB1-56EA-4AF8-ABF0-E0E9E0592472}"/>
              </a:ext>
            </a:extLst>
          </p:cNvPr>
          <p:cNvSpPr/>
          <p:nvPr userDrawn="1"/>
        </p:nvSpPr>
        <p:spPr bwMode="gray">
          <a:xfrm>
            <a:off x="4800000" y="719983"/>
            <a:ext cx="4320003" cy="4320003"/>
          </a:xfrm>
          <a:prstGeom prst="rect">
            <a:avLst/>
          </a:prstGeom>
          <a:solidFill>
            <a:srgbClr val="FF8C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2400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902BF999-C4D9-4A96-A6FD-03DE6680809A}"/>
              </a:ext>
            </a:extLst>
          </p:cNvPr>
          <p:cNvSpPr/>
          <p:nvPr userDrawn="1"/>
        </p:nvSpPr>
        <p:spPr bwMode="gray">
          <a:xfrm rot="784258">
            <a:off x="4800000" y="719983"/>
            <a:ext cx="4320003" cy="4320003"/>
          </a:xfrm>
          <a:prstGeom prst="rect">
            <a:avLst/>
          </a:prstGeom>
          <a:solidFill>
            <a:srgbClr val="FF8C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240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7BC4711-D31B-4CAE-A132-6C8DC6A678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238274" y="2207781"/>
            <a:ext cx="3600000" cy="1344407"/>
          </a:xfrm>
        </p:spPr>
        <p:txBody>
          <a:bodyPr anchor="ctr">
            <a:spAutoFit/>
          </a:bodyPr>
          <a:lstStyle>
            <a:lvl1pPr>
              <a:lnSpc>
                <a:spcPct val="91000"/>
              </a:lnSpc>
              <a:defRPr sz="3200" spc="-4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Kapitelüberschrif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7446330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foli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D465AF7-5505-4EB6-B212-0A1089202E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6259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ED465AF7-5505-4EB6-B212-0A1089202E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A9F9EF0D-C34A-427A-819C-F098A1F2978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F693DCC-B73B-4670-9202-19107BA7907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2CFF723-D7E3-4446-B8CF-0E726FBB9B1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A3145E02-685E-4B3F-AE53-6A44175774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68" t="14928" r="50466" b="57078"/>
          <a:stretch/>
        </p:blipFill>
        <p:spPr bwMode="gray">
          <a:xfrm rot="10800000">
            <a:off x="-8" y="1"/>
            <a:ext cx="12206519" cy="6317999"/>
          </a:xfrm>
          <a:prstGeom prst="rect">
            <a:avLst/>
          </a:prstGeom>
        </p:spPr>
      </p:pic>
      <p:sp>
        <p:nvSpPr>
          <p:cNvPr id="19" name="Freihandform 22">
            <a:extLst>
              <a:ext uri="{FF2B5EF4-FFF2-40B4-BE49-F238E27FC236}">
                <a16:creationId xmlns:a16="http://schemas.microsoft.com/office/drawing/2014/main" id="{7FB05671-8E00-4C33-8B59-718DE0DC2A6D}"/>
              </a:ext>
            </a:extLst>
          </p:cNvPr>
          <p:cNvSpPr/>
          <p:nvPr userDrawn="1"/>
        </p:nvSpPr>
        <p:spPr bwMode="gray">
          <a:xfrm>
            <a:off x="5868278" y="0"/>
            <a:ext cx="6338237" cy="6858000"/>
          </a:xfrm>
          <a:custGeom>
            <a:avLst/>
            <a:gdLst>
              <a:gd name="connsiteX0" fmla="*/ 0 w 4778829"/>
              <a:gd name="connsiteY0" fmla="*/ 0 h 5170714"/>
              <a:gd name="connsiteX1" fmla="*/ 4778829 w 4778829"/>
              <a:gd name="connsiteY1" fmla="*/ 0 h 5170714"/>
              <a:gd name="connsiteX2" fmla="*/ 4778829 w 4778829"/>
              <a:gd name="connsiteY2" fmla="*/ 5170714 h 5170714"/>
              <a:gd name="connsiteX3" fmla="*/ 1175657 w 4778829"/>
              <a:gd name="connsiteY3" fmla="*/ 5170714 h 5170714"/>
              <a:gd name="connsiteX4" fmla="*/ 0 w 4778829"/>
              <a:gd name="connsiteY4" fmla="*/ 0 h 5170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78829" h="5170714">
                <a:moveTo>
                  <a:pt x="0" y="0"/>
                </a:moveTo>
                <a:lnTo>
                  <a:pt x="4778829" y="0"/>
                </a:lnTo>
                <a:lnTo>
                  <a:pt x="4778829" y="5170714"/>
                </a:lnTo>
                <a:lnTo>
                  <a:pt x="1175657" y="5170714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9CA51913-289D-4042-9174-9AC69677F29B}"/>
              </a:ext>
            </a:extLst>
          </p:cNvPr>
          <p:cNvSpPr/>
          <p:nvPr userDrawn="1"/>
        </p:nvSpPr>
        <p:spPr bwMode="gray">
          <a:xfrm>
            <a:off x="4896000" y="719983"/>
            <a:ext cx="4320003" cy="4320003"/>
          </a:xfrm>
          <a:prstGeom prst="rect">
            <a:avLst/>
          </a:prstGeom>
          <a:solidFill>
            <a:srgbClr val="FF8C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2400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7A0459DA-F6D6-4599-A5EC-2342004B2043}"/>
              </a:ext>
            </a:extLst>
          </p:cNvPr>
          <p:cNvSpPr/>
          <p:nvPr userDrawn="1"/>
        </p:nvSpPr>
        <p:spPr bwMode="gray">
          <a:xfrm rot="784258">
            <a:off x="4896000" y="719983"/>
            <a:ext cx="4320003" cy="4320003"/>
          </a:xfrm>
          <a:prstGeom prst="rect">
            <a:avLst/>
          </a:prstGeom>
          <a:solidFill>
            <a:srgbClr val="FF8C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2400"/>
          </a:p>
        </p:txBody>
      </p: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93D3E608-AF21-4FAF-BFAD-4472E66FF78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8" y="6317458"/>
            <a:ext cx="1185536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>
            <a:extLst>
              <a:ext uri="{FF2B5EF4-FFF2-40B4-BE49-F238E27FC236}">
                <a16:creationId xmlns:a16="http://schemas.microsoft.com/office/drawing/2014/main" id="{F7BC4711-D31B-4CAE-A132-6C8DC6A678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328001" y="2207781"/>
            <a:ext cx="3600000" cy="1344407"/>
          </a:xfrm>
        </p:spPr>
        <p:txBody>
          <a:bodyPr anchor="ctr">
            <a:spAutoFit/>
          </a:bodyPr>
          <a:lstStyle>
            <a:lvl1pPr>
              <a:lnSpc>
                <a:spcPct val="91000"/>
              </a:lnSpc>
              <a:defRPr sz="3200" spc="-4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Kapitelüberschrift durch Klicken bearbeiten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1F79C1CE-0AAE-4FAE-8FC5-1D0C60700BD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10855382" y="327932"/>
            <a:ext cx="1017525" cy="662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23285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folie 02 mit Num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68A8112B-B273-4562-B903-DF776AE670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044" r="58342" b="44962"/>
          <a:stretch/>
        </p:blipFill>
        <p:spPr bwMode="gray">
          <a:xfrm rot="10800000">
            <a:off x="-5" y="-1"/>
            <a:ext cx="12087924" cy="6317997"/>
          </a:xfrm>
          <a:prstGeom prst="rect">
            <a:avLst/>
          </a:prstGeom>
        </p:spPr>
      </p:pic>
      <p:sp>
        <p:nvSpPr>
          <p:cNvPr id="13" name="Freihandform 22">
            <a:extLst>
              <a:ext uri="{FF2B5EF4-FFF2-40B4-BE49-F238E27FC236}">
                <a16:creationId xmlns:a16="http://schemas.microsoft.com/office/drawing/2014/main" id="{D91720F9-31A9-4EEE-8228-E7B5E7B0F047}"/>
              </a:ext>
            </a:extLst>
          </p:cNvPr>
          <p:cNvSpPr/>
          <p:nvPr userDrawn="1"/>
        </p:nvSpPr>
        <p:spPr bwMode="gray">
          <a:xfrm>
            <a:off x="5868278" y="0"/>
            <a:ext cx="6338237" cy="6858000"/>
          </a:xfrm>
          <a:custGeom>
            <a:avLst/>
            <a:gdLst>
              <a:gd name="connsiteX0" fmla="*/ 0 w 4778829"/>
              <a:gd name="connsiteY0" fmla="*/ 0 h 5170714"/>
              <a:gd name="connsiteX1" fmla="*/ 4778829 w 4778829"/>
              <a:gd name="connsiteY1" fmla="*/ 0 h 5170714"/>
              <a:gd name="connsiteX2" fmla="*/ 4778829 w 4778829"/>
              <a:gd name="connsiteY2" fmla="*/ 5170714 h 5170714"/>
              <a:gd name="connsiteX3" fmla="*/ 1175657 w 4778829"/>
              <a:gd name="connsiteY3" fmla="*/ 5170714 h 5170714"/>
              <a:gd name="connsiteX4" fmla="*/ 0 w 4778829"/>
              <a:gd name="connsiteY4" fmla="*/ 0 h 5170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78829" h="5170714">
                <a:moveTo>
                  <a:pt x="0" y="0"/>
                </a:moveTo>
                <a:lnTo>
                  <a:pt x="4778829" y="0"/>
                </a:lnTo>
                <a:lnTo>
                  <a:pt x="4778829" y="5170714"/>
                </a:lnTo>
                <a:lnTo>
                  <a:pt x="1175657" y="5170714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ADC5C39F-AA84-4535-960F-3717E05F3963}"/>
              </a:ext>
            </a:extLst>
          </p:cNvPr>
          <p:cNvSpPr/>
          <p:nvPr userDrawn="1"/>
        </p:nvSpPr>
        <p:spPr bwMode="gray">
          <a:xfrm>
            <a:off x="4800000" y="960000"/>
            <a:ext cx="4320003" cy="4320003"/>
          </a:xfrm>
          <a:prstGeom prst="rect">
            <a:avLst/>
          </a:prstGeom>
          <a:solidFill>
            <a:srgbClr val="FF8C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240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CA606EBF-2EE1-4CAA-87F0-AF3B428230C4}"/>
              </a:ext>
            </a:extLst>
          </p:cNvPr>
          <p:cNvSpPr/>
          <p:nvPr userDrawn="1"/>
        </p:nvSpPr>
        <p:spPr bwMode="gray">
          <a:xfrm rot="20819106">
            <a:off x="4800000" y="960000"/>
            <a:ext cx="4320003" cy="4320003"/>
          </a:xfrm>
          <a:prstGeom prst="rect">
            <a:avLst/>
          </a:prstGeom>
          <a:solidFill>
            <a:srgbClr val="FF8C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240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D465AF7-5505-4EB6-B212-0A1089202E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4349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ED465AF7-5505-4EB6-B212-0A1089202E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A9F9EF0D-C34A-427A-819C-F098A1F2978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F693DCC-B73B-4670-9202-19107BA7907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/>
              <a:t>| Kolping Gesellschaft Blindtext | XX. Monat 20XX | Maximilian Mustermann, Funktio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2CFF723-D7E3-4446-B8CF-0E726FBB9B1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93D3E608-AF21-4FAF-BFAD-4472E66FF78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-8" y="6317458"/>
            <a:ext cx="1185536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>
            <a:extLst>
              <a:ext uri="{FF2B5EF4-FFF2-40B4-BE49-F238E27FC236}">
                <a16:creationId xmlns:a16="http://schemas.microsoft.com/office/drawing/2014/main" id="{F7BC4711-D31B-4CAE-A132-6C8DC6A678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238274" y="2447797"/>
            <a:ext cx="3600000" cy="1344407"/>
          </a:xfrm>
        </p:spPr>
        <p:txBody>
          <a:bodyPr anchor="ctr">
            <a:spAutoFit/>
          </a:bodyPr>
          <a:lstStyle>
            <a:lvl1pPr>
              <a:lnSpc>
                <a:spcPct val="91000"/>
              </a:lnSpc>
              <a:defRPr sz="3200" spc="-4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Kapitelüberschrift durch Klicken bearbeiten</a:t>
            </a:r>
          </a:p>
        </p:txBody>
      </p:sp>
      <p:sp>
        <p:nvSpPr>
          <p:cNvPr id="20" name="Textplatzhalter 12">
            <a:extLst>
              <a:ext uri="{FF2B5EF4-FFF2-40B4-BE49-F238E27FC236}">
                <a16:creationId xmlns:a16="http://schemas.microsoft.com/office/drawing/2014/main" id="{AF7B729C-EE23-4D6F-87D8-F31909A6F9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753112" y="1044664"/>
            <a:ext cx="1452962" cy="1354217"/>
          </a:xfrm>
        </p:spPr>
        <p:txBody>
          <a:bodyPr wrap="none" anchor="ctr">
            <a:spAutoFit/>
          </a:bodyPr>
          <a:lstStyle>
            <a:lvl1pPr marL="0" indent="0" algn="r">
              <a:lnSpc>
                <a:spcPct val="100000"/>
              </a:lnSpc>
              <a:buFont typeface="Arial" panose="020B0604020202020204" pitchFamily="34" charset="0"/>
              <a:buNone/>
              <a:defRPr sz="8800" b="1" spc="-240" baseline="0">
                <a:solidFill>
                  <a:schemeClr val="tx1"/>
                </a:solidFill>
              </a:defRPr>
            </a:lvl1pPr>
            <a:lvl2pPr marL="0" indent="0" algn="r">
              <a:lnSpc>
                <a:spcPct val="100000"/>
              </a:lnSpc>
              <a:buFont typeface="Arial" panose="020B0604020202020204" pitchFamily="34" charset="0"/>
              <a:buNone/>
              <a:defRPr sz="8800" b="1" spc="-240" baseline="0">
                <a:solidFill>
                  <a:schemeClr val="tx1"/>
                </a:solidFill>
              </a:defRPr>
            </a:lvl2pPr>
            <a:lvl3pPr marL="0" indent="0" algn="r">
              <a:lnSpc>
                <a:spcPct val="100000"/>
              </a:lnSpc>
              <a:buNone/>
              <a:defRPr sz="8800" b="1" spc="-240" baseline="0">
                <a:solidFill>
                  <a:schemeClr val="tx1"/>
                </a:solidFill>
              </a:defRPr>
            </a:lvl3pPr>
            <a:lvl4pPr marL="0" indent="0" algn="r">
              <a:lnSpc>
                <a:spcPct val="100000"/>
              </a:lnSpc>
              <a:buNone/>
              <a:defRPr sz="8800" b="1" spc="-240" baseline="0">
                <a:solidFill>
                  <a:schemeClr val="tx1"/>
                </a:solidFill>
              </a:defRPr>
            </a:lvl4pPr>
            <a:lvl5pPr marL="0" indent="0" algn="r">
              <a:lnSpc>
                <a:spcPct val="100000"/>
              </a:lnSpc>
              <a:buNone/>
              <a:defRPr sz="8800" b="1" spc="-240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X.X</a:t>
            </a:r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AF1A9FB8-10FF-44AF-9955-91135DFD7B3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10855382" y="327932"/>
            <a:ext cx="1017525" cy="662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28909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45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3.svg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AF61EC7-459C-4A99-B93D-601E7A1713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2286764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3" imgW="344" imgH="345" progId="TCLayout.ActiveDocument.1">
                  <p:embed/>
                </p:oleObj>
              </mc:Choice>
              <mc:Fallback>
                <p:oleObj name="think-cell Folie" r:id="rId4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0EDDBC26-4ED7-445A-B2B6-08835E703A64}"/>
              </a:ext>
            </a:extLst>
          </p:cNvPr>
          <p:cNvSpPr/>
          <p:nvPr userDrawn="1">
            <p:custDataLst>
              <p:tags r:id="rId4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7A28CA4E-5444-4949-B168-1999F5F6A39C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95400" y="908373"/>
            <a:ext cx="9792000" cy="380104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8CD1DAB-E43F-4A11-945B-CFDB175E43F2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695400" y="1844824"/>
            <a:ext cx="11160000" cy="417656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C4CE9E3-D900-47A2-B004-1C5EFC2400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523868" y="6449956"/>
            <a:ext cx="6480000" cy="16158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5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| Kolping Gesellschaft Blindtext | XX. Monat 20XX | Maximilian Mustermann, Funk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E2C8970-0A0A-455C-900C-4C90B13E0C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204920" y="6449956"/>
            <a:ext cx="288000" cy="16158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050" b="1">
                <a:solidFill>
                  <a:schemeClr val="tx1"/>
                </a:solidFill>
              </a:defRPr>
            </a:lvl1pPr>
          </a:lstStyle>
          <a:p>
            <a:fld id="{1925EFE5-409A-4263-AA86-E37B8055B6A0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39764C53-27BC-41A5-A695-92DA02CC79AC}"/>
              </a:ext>
            </a:extLst>
          </p:cNvPr>
          <p:cNvPicPr>
            <a:picLocks noChangeAspect="1"/>
          </p:cNvPicPr>
          <p:nvPr userDrawn="1"/>
        </p:nvPicPr>
        <p:blipFill>
          <a:blip r:embed="rId45">
            <a:extLst>
              <a:ext uri="{96DAC541-7B7A-43D3-8B79-37D633B846F1}">
                <asvg:svgBlip xmlns:asvg="http://schemas.microsoft.com/office/drawing/2016/SVG/main" r:embed="rId46"/>
              </a:ext>
            </a:extLst>
          </a:blip>
          <a:stretch>
            <a:fillRect/>
          </a:stretch>
        </p:blipFill>
        <p:spPr bwMode="gray">
          <a:xfrm>
            <a:off x="10855382" y="327932"/>
            <a:ext cx="1017525" cy="662674"/>
          </a:xfrm>
          <a:prstGeom prst="rect">
            <a:avLst/>
          </a:prstGeom>
        </p:spPr>
      </p:pic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51F9B854-0CC5-445D-A236-0867E317E95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35360" y="6317458"/>
            <a:ext cx="11520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61135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49" r:id="rId2"/>
    <p:sldLayoutId id="2147483674" r:id="rId3"/>
    <p:sldLayoutId id="2147483651" r:id="rId4"/>
    <p:sldLayoutId id="2147483653" r:id="rId5"/>
    <p:sldLayoutId id="2147483654" r:id="rId6"/>
    <p:sldLayoutId id="2147483678" r:id="rId7"/>
    <p:sldLayoutId id="2147483655" r:id="rId8"/>
    <p:sldLayoutId id="2147483675" r:id="rId9"/>
    <p:sldLayoutId id="2147483659" r:id="rId10"/>
    <p:sldLayoutId id="2147483677" r:id="rId11"/>
    <p:sldLayoutId id="2147483676" r:id="rId12"/>
    <p:sldLayoutId id="2147483679" r:id="rId13"/>
    <p:sldLayoutId id="2147483680" r:id="rId14"/>
    <p:sldLayoutId id="2147483681" r:id="rId15"/>
    <p:sldLayoutId id="2147483683" r:id="rId16"/>
    <p:sldLayoutId id="2147483684" r:id="rId17"/>
    <p:sldLayoutId id="2147483685" r:id="rId18"/>
    <p:sldLayoutId id="2147483686" r:id="rId19"/>
    <p:sldLayoutId id="2147483682" r:id="rId20"/>
    <p:sldLayoutId id="2147483693" r:id="rId21"/>
    <p:sldLayoutId id="2147483694" r:id="rId22"/>
    <p:sldLayoutId id="2147483688" r:id="rId23"/>
    <p:sldLayoutId id="2147483687" r:id="rId24"/>
    <p:sldLayoutId id="2147483689" r:id="rId25"/>
    <p:sldLayoutId id="2147483697" r:id="rId26"/>
    <p:sldLayoutId id="2147483690" r:id="rId27"/>
    <p:sldLayoutId id="2147483691" r:id="rId28"/>
    <p:sldLayoutId id="2147483663" r:id="rId29"/>
    <p:sldLayoutId id="2147483664" r:id="rId30"/>
    <p:sldLayoutId id="2147483665" r:id="rId31"/>
    <p:sldLayoutId id="2147483666" r:id="rId32"/>
    <p:sldLayoutId id="2147483667" r:id="rId33"/>
    <p:sldLayoutId id="2147483668" r:id="rId34"/>
    <p:sldLayoutId id="2147483669" r:id="rId35"/>
    <p:sldLayoutId id="2147483670" r:id="rId36"/>
    <p:sldLayoutId id="2147483671" r:id="rId37"/>
    <p:sldLayoutId id="2147483672" r:id="rId38"/>
    <p:sldLayoutId id="2147483673" r:id="rId39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600" b="1" kern="1200" spc="-2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5000"/>
        </a:lnSpc>
        <a:spcBef>
          <a:spcPts val="1000"/>
        </a:spcBef>
        <a:buFont typeface="Arial" panose="020B0604020202020204" pitchFamily="34" charset="0"/>
        <a:buNone/>
        <a:defRPr sz="1800" b="1" kern="1200" spc="-1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5000"/>
        </a:lnSpc>
        <a:spcBef>
          <a:spcPts val="600"/>
        </a:spcBef>
        <a:buFont typeface="Arial" panose="020B0604020202020204" pitchFamily="34" charset="0"/>
        <a:buNone/>
        <a:defRPr sz="1600" kern="1200" spc="-10" baseline="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lnSpc>
          <a:spcPct val="105000"/>
        </a:lnSpc>
        <a:spcBef>
          <a:spcPts val="400"/>
        </a:spcBef>
        <a:buClr>
          <a:schemeClr val="tx2"/>
        </a:buClr>
        <a:buFont typeface="Wingdings" panose="05000000000000000000" pitchFamily="2" charset="2"/>
        <a:buChar char="§"/>
        <a:defRPr sz="1600" kern="1200" spc="-10" baseline="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105000"/>
        </a:lnSpc>
        <a:spcBef>
          <a:spcPts val="200"/>
        </a:spcBef>
        <a:buClr>
          <a:schemeClr val="tx2"/>
        </a:buClr>
        <a:buFont typeface="Wingdings" panose="05000000000000000000" pitchFamily="2" charset="2"/>
        <a:buChar char="§"/>
        <a:defRPr sz="1400" kern="1200" spc="-10" baseline="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914400" rtl="0" eaLnBrk="1" latinLnBrk="0" hangingPunct="1">
        <a:lnSpc>
          <a:spcPct val="105000"/>
        </a:lnSpc>
        <a:spcBef>
          <a:spcPts val="200"/>
        </a:spcBef>
        <a:buClr>
          <a:schemeClr val="tx2"/>
        </a:buClr>
        <a:buFont typeface="Wingdings" panose="05000000000000000000" pitchFamily="2" charset="2"/>
        <a:buChar char="§"/>
        <a:defRPr sz="1400" kern="1200" spc="-1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38" userDrawn="1">
          <p15:clr>
            <a:srgbClr val="F26B43"/>
          </p15:clr>
        </p15:guide>
        <p15:guide id="2" orient="horz" pos="1162" userDrawn="1">
          <p15:clr>
            <a:srgbClr val="F26B43"/>
          </p15:clr>
        </p15:guide>
        <p15:guide id="3" pos="7469" userDrawn="1">
          <p15:clr>
            <a:srgbClr val="F26B43"/>
          </p15:clr>
        </p15:guide>
        <p15:guide id="4" orient="horz" pos="3793" userDrawn="1">
          <p15:clr>
            <a:srgbClr val="F26B43"/>
          </p15:clr>
        </p15:guide>
        <p15:guide id="5" pos="3772" userDrawn="1">
          <p15:clr>
            <a:srgbClr val="F26B43"/>
          </p15:clr>
        </p15:guide>
        <p15:guide id="6" pos="413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9.JPG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10" Type="http://schemas.openxmlformats.org/officeDocument/2006/relationships/image" Target="../media/image12.JPG"/><Relationship Id="rId4" Type="http://schemas.openxmlformats.org/officeDocument/2006/relationships/oleObject" Target="../embeddings/oleObject45.bin"/><Relationship Id="rId9" Type="http://schemas.openxmlformats.org/officeDocument/2006/relationships/image" Target="../media/image11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9.xml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4.xml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4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5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4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7.wmf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oleObject" Target="../embeddings/oleObject46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D84B85F-F5CF-43DA-A08F-AB3B2A3B99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D84B85F-F5CF-43DA-A08F-AB3B2A3B99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66BD2CFD-42AD-4097-B72F-C05190BF2EA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lnSpc>
                <a:spcPct val="113000"/>
              </a:lnSpc>
            </a:pPr>
            <a:endParaRPr lang="de-DE" sz="3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A54503C-5DA9-4AAA-998D-CF26BD3F01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0000" y="1920000"/>
            <a:ext cx="10428588" cy="1578894"/>
          </a:xfrm>
        </p:spPr>
        <p:txBody>
          <a:bodyPr/>
          <a:lstStyle/>
          <a:p>
            <a:r>
              <a:rPr lang="de-DE" dirty="0"/>
              <a:t>Ferienlager 2023 – Anmeldeabend</a:t>
            </a:r>
            <a:br>
              <a:rPr lang="de-DE" dirty="0"/>
            </a:br>
            <a:br>
              <a:rPr lang="de-DE" dirty="0"/>
            </a:b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105146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5D66F0B-CE35-40D8-8659-E860EFC0C7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85D66F0B-CE35-40D8-8659-E860EFC0C7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78388443-B206-4701-AB9F-D70856376C2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lnSpc>
                <a:spcPct val="113000"/>
              </a:lnSpc>
            </a:pPr>
            <a:endParaRPr lang="de-DE" sz="2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2F527D-01B3-46EE-A8AB-BD1181CE66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| Kolpingsfamilie Saerbeck| Ferienlager Anmeldeabend | Januar 2023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A771327-4241-4A08-A88E-933BCB1FCD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25EFE5-409A-4263-AA86-E37B8055B6A0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BF573E6E-956E-4835-9AD7-D24D672E3A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Unterkunft</a:t>
            </a:r>
          </a:p>
        </p:txBody>
      </p:sp>
      <p:pic>
        <p:nvPicPr>
          <p:cNvPr id="67593" name="Picture 9">
            <a:extLst>
              <a:ext uri="{FF2B5EF4-FFF2-40B4-BE49-F238E27FC236}">
                <a16:creationId xmlns:a16="http://schemas.microsoft.com/office/drawing/2014/main" id="{C7A12EBC-E0E1-3D5C-4CCF-86581DB65F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5800" y="1853194"/>
            <a:ext cx="4107273" cy="19803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Grafik 10" descr="Ein Bild, das Boden, drinnen, Decke, Tisch enthält.&#10;&#10;Automatisch generierte Beschreibung">
            <a:extLst>
              <a:ext uri="{FF2B5EF4-FFF2-40B4-BE49-F238E27FC236}">
                <a16:creationId xmlns:a16="http://schemas.microsoft.com/office/drawing/2014/main" id="{0A6F9B15-5348-0D75-945E-2E8BF5FE07A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898654" y="1861308"/>
            <a:ext cx="2958383" cy="1972255"/>
          </a:xfrm>
          <a:prstGeom prst="rect">
            <a:avLst/>
          </a:prstGeom>
        </p:spPr>
      </p:pic>
      <p:pic>
        <p:nvPicPr>
          <p:cNvPr id="14" name="Grafik 13" descr="Ein Bild, das Boden, drinnen, Wand, Raum enthält.&#10;&#10;Automatisch generierte Beschreibung">
            <a:extLst>
              <a:ext uri="{FF2B5EF4-FFF2-40B4-BE49-F238E27FC236}">
                <a16:creationId xmlns:a16="http://schemas.microsoft.com/office/drawing/2014/main" id="{F680C599-A4FD-894E-7581-D0802A54659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8252" y="1844675"/>
            <a:ext cx="2982749" cy="1988888"/>
          </a:xfrm>
          <a:prstGeom prst="rect">
            <a:avLst/>
          </a:prstGeom>
        </p:spPr>
      </p:pic>
      <p:pic>
        <p:nvPicPr>
          <p:cNvPr id="16" name="Grafik 15" descr="Ein Bild, das drinnen, Boden, Wand, Badezimmer enthält.&#10;&#10;Automatisch generierte Beschreibung">
            <a:extLst>
              <a:ext uri="{FF2B5EF4-FFF2-40B4-BE49-F238E27FC236}">
                <a16:creationId xmlns:a16="http://schemas.microsoft.com/office/drawing/2014/main" id="{55D01275-CC01-1C88-9C09-1595B1F46FD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603612" y="3988622"/>
            <a:ext cx="2653166" cy="1972255"/>
          </a:xfrm>
          <a:prstGeom prst="rect">
            <a:avLst/>
          </a:prstGeom>
        </p:spPr>
      </p:pic>
      <p:pic>
        <p:nvPicPr>
          <p:cNvPr id="20" name="Grafik 19" descr="Ein Bild, das Baum, Gras, draußen, Feld enthält.&#10;&#10;Automatisch generierte Beschreibung">
            <a:extLst>
              <a:ext uri="{FF2B5EF4-FFF2-40B4-BE49-F238E27FC236}">
                <a16:creationId xmlns:a16="http://schemas.microsoft.com/office/drawing/2014/main" id="{98B91D33-CA7B-AB0C-2DB6-D90E97B19A6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104112" y="4012620"/>
            <a:ext cx="3043426" cy="2028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27156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kt 33" hidden="1">
            <a:extLst>
              <a:ext uri="{FF2B5EF4-FFF2-40B4-BE49-F238E27FC236}">
                <a16:creationId xmlns:a16="http://schemas.microsoft.com/office/drawing/2014/main" id="{2C67F71C-AD12-478C-98DE-F4346EDB7F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34" name="Objekt 33" hidden="1">
                        <a:extLst>
                          <a:ext uri="{FF2B5EF4-FFF2-40B4-BE49-F238E27FC236}">
                            <a16:creationId xmlns:a16="http://schemas.microsoft.com/office/drawing/2014/main" id="{2C67F71C-AD12-478C-98DE-F4346EDB7F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D47934F-3BE3-436E-9246-55B938E48CF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 dirty="0"/>
              <a:t>| Kolpingsfamilie Saerbeck| Ferienlager Anmeldeabend | Januar 2023</a:t>
            </a:r>
          </a:p>
        </p:txBody>
      </p:sp>
      <p:sp>
        <p:nvSpPr>
          <p:cNvPr id="22" name="Foliennummernplatzhalter 21">
            <a:extLst>
              <a:ext uri="{FF2B5EF4-FFF2-40B4-BE49-F238E27FC236}">
                <a16:creationId xmlns:a16="http://schemas.microsoft.com/office/drawing/2014/main" id="{B6379ECB-67A9-4391-865C-0251CEB9080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B245631-31C0-42B7-AEA2-DE79E82BED5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solidFill>
            <a:schemeClr val="bg2"/>
          </a:solidFill>
        </p:spPr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C61F844-A444-4716-857B-68CF478164B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pPr lvl="0"/>
            <a:r>
              <a:rPr lang="de-DE" dirty="0"/>
              <a:t>Allgemeine Informationen zum Ferienlager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94E5DC6-2BFB-483D-87D8-89669E1A50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solidFill>
            <a:schemeClr val="bg2"/>
          </a:solidFill>
        </p:spPr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06793D4-ADF8-4E22-953E-1F7713D8E62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pPr lvl="0"/>
            <a:r>
              <a:rPr lang="de-DE" dirty="0"/>
              <a:t>Die Unterkunf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CFD8829-35B1-40FC-BA18-CE4134C939F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solidFill>
            <a:schemeClr val="tx2"/>
          </a:solidFill>
        </p:spPr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A676EEFB-15D3-4242-8ACC-269785BCB7C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pPr lvl="0"/>
            <a:r>
              <a:rPr lang="de-DE" dirty="0"/>
              <a:t>Anmeldung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ECC1A19B-B67F-460B-89BF-6B6A42A8CB3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5EAB9947-E8F5-4E8A-AEC7-54E04A1B52A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pPr lvl="0"/>
            <a:r>
              <a:rPr lang="de-DE" dirty="0"/>
              <a:t>Eure Fragen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85129028-267D-4737-A938-B9601C12617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47CC1430-A45E-4D5F-94B7-650F66B02AB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9AD78256-7A1F-46E9-A399-457F1CC5429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A7AE973E-E1F0-4A48-91BD-9262EEF9B58F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6BFAEDAB-9F2A-4EE6-8E8C-607693501A6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3A8B9891-F1C1-4FDD-916D-15ADEE21BCFA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F781D315-9017-4C65-8EC8-3E8516145ED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B2B449B3-B7B5-4C4B-945E-7C6D4B0B1FA4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714DE5-D388-47CC-B097-07E7A3D91D99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33045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5D66F0B-CE35-40D8-8659-E860EFC0C7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85D66F0B-CE35-40D8-8659-E860EFC0C7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78388443-B206-4701-AB9F-D70856376C2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lnSpc>
                <a:spcPct val="113000"/>
              </a:lnSpc>
            </a:pPr>
            <a:endParaRPr lang="de-DE" sz="2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2F527D-01B3-46EE-A8AB-BD1181CE66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| Kolpingsfamilie Saerbeck| Ferienlager Anmeldeabend | Januar 2023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A771327-4241-4A08-A88E-933BCB1FCD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25EFE5-409A-4263-AA86-E37B8055B6A0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795CA0A-D8BC-4711-9FF8-23009114976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lvl="2" indent="0">
              <a:buNone/>
            </a:pPr>
            <a:r>
              <a:rPr lang="de-DE" b="1" dirty="0"/>
              <a:t>Ablauf der Anmeldungen</a:t>
            </a:r>
          </a:p>
          <a:p>
            <a:pPr lvl="2"/>
            <a:r>
              <a:rPr lang="de-DE" dirty="0"/>
              <a:t>1. Vorläufige Anmeldung ausfüllen (bis zum 31.01.2023)</a:t>
            </a:r>
          </a:p>
          <a:p>
            <a:pPr lvl="3"/>
            <a:r>
              <a:rPr lang="de-DE" dirty="0"/>
              <a:t>Unter www.kolping-saerbeck.de/ferienlager</a:t>
            </a:r>
          </a:p>
          <a:p>
            <a:pPr lvl="2"/>
            <a:r>
              <a:rPr lang="de-DE" dirty="0"/>
              <a:t>2. Automatische Bestätigungsmail erhalten</a:t>
            </a:r>
          </a:p>
          <a:p>
            <a:pPr lvl="2"/>
            <a:r>
              <a:rPr lang="de-DE" dirty="0"/>
              <a:t>3. </a:t>
            </a:r>
            <a:r>
              <a:rPr lang="de-DE" dirty="0" err="1"/>
              <a:t>Zusagemail</a:t>
            </a:r>
            <a:r>
              <a:rPr lang="de-DE" dirty="0"/>
              <a:t> vom Ferienlager-Team abwarten</a:t>
            </a:r>
          </a:p>
          <a:p>
            <a:pPr lvl="2"/>
            <a:r>
              <a:rPr lang="de-DE" dirty="0"/>
              <a:t>4. Anzahlung der 50 € per Überweisung bis zum 30.03.2023 an </a:t>
            </a:r>
          </a:p>
          <a:p>
            <a:pPr lvl="3"/>
            <a:r>
              <a:rPr lang="de-DE" dirty="0"/>
              <a:t>Kolpingsfamilie Saerbeck </a:t>
            </a:r>
            <a:br>
              <a:rPr lang="de-DE" dirty="0"/>
            </a:br>
            <a:r>
              <a:rPr lang="de-DE" dirty="0"/>
              <a:t>DE28 4036 1627 0115 3404 07 </a:t>
            </a:r>
          </a:p>
          <a:p>
            <a:pPr lvl="2"/>
            <a:r>
              <a:rPr lang="de-DE" dirty="0"/>
              <a:t>5. Ausführliches Anmeldeformular ausfüllen und unterschreiben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BF573E6E-956E-4835-9AD7-D24D672E3A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meldung</a:t>
            </a:r>
          </a:p>
        </p:txBody>
      </p:sp>
    </p:spTree>
    <p:extLst>
      <p:ext uri="{BB962C8B-B14F-4D97-AF65-F5344CB8AC3E}">
        <p14:creationId xmlns:p14="http://schemas.microsoft.com/office/powerpoint/2010/main" val="214493466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5D66F0B-CE35-40D8-8659-E860EFC0C7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85D66F0B-CE35-40D8-8659-E860EFC0C7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78388443-B206-4701-AB9F-D70856376C2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lnSpc>
                <a:spcPct val="113000"/>
              </a:lnSpc>
            </a:pPr>
            <a:endParaRPr lang="de-DE" sz="2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2F527D-01B3-46EE-A8AB-BD1181CE66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| Kolpingsfamilie Saerbeck| Ferienlager Anmeldeabend | Januar 2023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A771327-4241-4A08-A88E-933BCB1FCD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25EFE5-409A-4263-AA86-E37B8055B6A0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795CA0A-D8BC-4711-9FF8-23009114976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lvl="2" indent="0">
              <a:buNone/>
            </a:pPr>
            <a:r>
              <a:rPr lang="de-DE" b="1" dirty="0"/>
              <a:t>Was passiert bei zu vielen Anmeldungen?</a:t>
            </a:r>
          </a:p>
          <a:p>
            <a:pPr marL="0" lvl="2" indent="0">
              <a:buNone/>
            </a:pPr>
            <a:r>
              <a:rPr lang="de-DE" dirty="0"/>
              <a:t>Letztes Jahr mussten wir aufgrund der Vielzahl von Anmeldungen leider einigen Kindern absagen.</a:t>
            </a:r>
          </a:p>
          <a:p>
            <a:pPr lvl="2"/>
            <a:endParaRPr lang="de-DE" dirty="0"/>
          </a:p>
          <a:p>
            <a:pPr marL="0" lvl="2" indent="0">
              <a:buNone/>
            </a:pPr>
            <a:r>
              <a:rPr lang="de-DE" dirty="0"/>
              <a:t>Sollte es dieses Jahr wieder zu einer solchen Situation kommen, haben wir folgende Vorzugskriterien festgelegt:</a:t>
            </a:r>
          </a:p>
          <a:p>
            <a:pPr marL="522900" lvl="3" indent="-342900">
              <a:buFont typeface="+mj-lt"/>
              <a:buAutoNum type="arabicPeriod"/>
            </a:pPr>
            <a:r>
              <a:rPr lang="de-DE" dirty="0"/>
              <a:t>Kind hat in der Vergangenheit schon an einem Ferienlager teilgenommen (oder hatte sich dazu angemeldet)</a:t>
            </a:r>
          </a:p>
          <a:p>
            <a:pPr marL="522900" lvl="3" indent="-342900">
              <a:buFont typeface="+mj-lt"/>
              <a:buAutoNum type="arabicPeriod"/>
            </a:pPr>
            <a:r>
              <a:rPr lang="de-DE" dirty="0"/>
              <a:t>Wohnort in Saerbeck</a:t>
            </a:r>
          </a:p>
          <a:p>
            <a:pPr marL="522900" lvl="3" indent="-342900">
              <a:buFont typeface="+mj-lt"/>
              <a:buAutoNum type="arabicPeriod"/>
            </a:pPr>
            <a:r>
              <a:rPr lang="de-DE" dirty="0"/>
              <a:t>Alter / Schulklasse (Ältere bevorzugt)</a:t>
            </a:r>
          </a:p>
          <a:p>
            <a:pPr marL="522900" lvl="3" indent="-342900">
              <a:buFont typeface="+mj-lt"/>
              <a:buAutoNum type="arabicPeriod"/>
            </a:pPr>
            <a:r>
              <a:rPr lang="de-DE" dirty="0"/>
              <a:t>Kolpingmitglieder</a:t>
            </a:r>
          </a:p>
          <a:p>
            <a:pPr lvl="3"/>
            <a:endParaRPr lang="de-DE" dirty="0"/>
          </a:p>
          <a:p>
            <a:pPr marL="0" lvl="2" indent="0">
              <a:buNone/>
            </a:pPr>
            <a:r>
              <a:rPr lang="de-DE" dirty="0"/>
              <a:t>Wir möchten grundsätzlich eine möglichst ausgeglichene Anzahl von Jungen und Mädchen mitnehmen.</a:t>
            </a:r>
          </a:p>
          <a:p>
            <a:pPr marL="0" lvl="2" indent="0">
              <a:buNone/>
            </a:pPr>
            <a:r>
              <a:rPr lang="de-DE" dirty="0"/>
              <a:t>Das kann dazu führen, dass bei den Jungen und Mädchen im Einzelfall unterschiedliche </a:t>
            </a:r>
            <a:r>
              <a:rPr lang="de-DE" dirty="0" err="1"/>
              <a:t>Kriterienstufen</a:t>
            </a:r>
            <a:r>
              <a:rPr lang="de-DE" dirty="0"/>
              <a:t> zum Tragen kommen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BF573E6E-956E-4835-9AD7-D24D672E3A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meldung</a:t>
            </a:r>
          </a:p>
        </p:txBody>
      </p:sp>
    </p:spTree>
    <p:extLst>
      <p:ext uri="{BB962C8B-B14F-4D97-AF65-F5344CB8AC3E}">
        <p14:creationId xmlns:p14="http://schemas.microsoft.com/office/powerpoint/2010/main" val="363195040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kt 33" hidden="1">
            <a:extLst>
              <a:ext uri="{FF2B5EF4-FFF2-40B4-BE49-F238E27FC236}">
                <a16:creationId xmlns:a16="http://schemas.microsoft.com/office/drawing/2014/main" id="{2C67F71C-AD12-478C-98DE-F4346EDB7F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34" name="Objekt 33" hidden="1">
                        <a:extLst>
                          <a:ext uri="{FF2B5EF4-FFF2-40B4-BE49-F238E27FC236}">
                            <a16:creationId xmlns:a16="http://schemas.microsoft.com/office/drawing/2014/main" id="{2C67F71C-AD12-478C-98DE-F4346EDB7F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D47934F-3BE3-436E-9246-55B938E48CF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 dirty="0"/>
              <a:t>| Kolpingsfamilie Saerbeck| Ferienlager Anmeldeabend | Januar 2023</a:t>
            </a:r>
          </a:p>
        </p:txBody>
      </p:sp>
      <p:sp>
        <p:nvSpPr>
          <p:cNvPr id="22" name="Foliennummernplatzhalter 21">
            <a:extLst>
              <a:ext uri="{FF2B5EF4-FFF2-40B4-BE49-F238E27FC236}">
                <a16:creationId xmlns:a16="http://schemas.microsoft.com/office/drawing/2014/main" id="{B6379ECB-67A9-4391-865C-0251CEB9080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B245631-31C0-42B7-AEA2-DE79E82BED5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solidFill>
            <a:schemeClr val="bg2"/>
          </a:solidFill>
        </p:spPr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C61F844-A444-4716-857B-68CF478164B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pPr lvl="0"/>
            <a:r>
              <a:rPr lang="de-DE" dirty="0"/>
              <a:t>Allgemeine Informationen zum Ferienlager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94E5DC6-2BFB-483D-87D8-89669E1A50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solidFill>
            <a:schemeClr val="bg2"/>
          </a:solidFill>
        </p:spPr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06793D4-ADF8-4E22-953E-1F7713D8E62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pPr lvl="0"/>
            <a:r>
              <a:rPr lang="de-DE" dirty="0"/>
              <a:t>Die Unterkunf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CFD8829-35B1-40FC-BA18-CE4134C939F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solidFill>
            <a:schemeClr val="bg2"/>
          </a:solidFill>
        </p:spPr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A676EEFB-15D3-4242-8ACC-269785BCB7C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pPr lvl="0"/>
            <a:r>
              <a:rPr lang="de-DE" dirty="0"/>
              <a:t>Anmeldung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ECC1A19B-B67F-460B-89BF-6B6A42A8CB3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solidFill>
            <a:schemeClr val="tx2"/>
          </a:solidFill>
        </p:spPr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5EAB9947-E8F5-4E8A-AEC7-54E04A1B52A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pPr lvl="0"/>
            <a:r>
              <a:rPr lang="de-DE" dirty="0"/>
              <a:t>Eure Fragen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85129028-267D-4737-A938-B9601C12617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47CC1430-A45E-4D5F-94B7-650F66B02AB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9AD78256-7A1F-46E9-A399-457F1CC5429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A7AE973E-E1F0-4A48-91BD-9262EEF9B58F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6BFAEDAB-9F2A-4EE6-8E8C-607693501A6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3A8B9891-F1C1-4FDD-916D-15ADEE21BCFA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F781D315-9017-4C65-8EC8-3E8516145ED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B2B449B3-B7B5-4C4B-945E-7C6D4B0B1FA4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714DE5-D388-47CC-B097-07E7A3D91D99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0513745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5D66F0B-CE35-40D8-8659-E860EFC0C7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85D66F0B-CE35-40D8-8659-E860EFC0C7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78388443-B206-4701-AB9F-D70856376C2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lnSpc>
                <a:spcPct val="113000"/>
              </a:lnSpc>
            </a:pPr>
            <a:endParaRPr lang="de-DE" sz="2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2F527D-01B3-46EE-A8AB-BD1181CE66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| Kolpingsfamilie Saerbeck| Ferienlager Anmeldeabend | Januar 2023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A771327-4241-4A08-A88E-933BCB1FCD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25EFE5-409A-4263-AA86-E37B8055B6A0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795CA0A-D8BC-4711-9FF8-23009114976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lvl="2" indent="0">
              <a:buNone/>
            </a:pPr>
            <a:r>
              <a:rPr lang="de-DE" sz="1800" b="1" dirty="0"/>
              <a:t>Fragen aus den bisherigen Anmeldungen:</a:t>
            </a:r>
          </a:p>
          <a:p>
            <a:pPr lvl="2"/>
            <a:endParaRPr lang="de-DE" dirty="0"/>
          </a:p>
          <a:p>
            <a:pPr lvl="2"/>
            <a:r>
              <a:rPr lang="de-DE" dirty="0"/>
              <a:t>Kann der Zimmerwunsch auch zu einem späteren Zeitpunkt angegeben oder korrigiert werden?</a:t>
            </a:r>
          </a:p>
          <a:p>
            <a:pPr lvl="3"/>
            <a:r>
              <a:rPr lang="de-DE" dirty="0"/>
              <a:t>Wir sammeln die Zimmerwünsche für die Vorbereitung der Gruppen- und Zimmeraufteilung am 07.06.</a:t>
            </a:r>
          </a:p>
          <a:p>
            <a:pPr lvl="3"/>
            <a:r>
              <a:rPr lang="de-DE" dirty="0"/>
              <a:t>Spätestens dann können vor Ort von den Kindern immer noch Änderungswünsche zu unserem Plan geäußert werden.</a:t>
            </a:r>
          </a:p>
          <a:p>
            <a:pPr lvl="3"/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BF573E6E-956E-4835-9AD7-D24D672E3A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ure Fragen</a:t>
            </a:r>
          </a:p>
        </p:txBody>
      </p:sp>
    </p:spTree>
    <p:extLst>
      <p:ext uri="{BB962C8B-B14F-4D97-AF65-F5344CB8AC3E}">
        <p14:creationId xmlns:p14="http://schemas.microsoft.com/office/powerpoint/2010/main" val="342397284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5D66F0B-CE35-40D8-8659-E860EFC0C7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85D66F0B-CE35-40D8-8659-E860EFC0C7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78388443-B206-4701-AB9F-D70856376C2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lnSpc>
                <a:spcPct val="113000"/>
              </a:lnSpc>
            </a:pPr>
            <a:endParaRPr lang="de-DE" sz="2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2F527D-01B3-46EE-A8AB-BD1181CE66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| Kolpingsfamilie Saerbeck| Ferienlager Anmeldeabend | Januar 2023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A771327-4241-4A08-A88E-933BCB1FCD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25EFE5-409A-4263-AA86-E37B8055B6A0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795CA0A-D8BC-4711-9FF8-23009114976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2"/>
            <a:r>
              <a:rPr lang="de-DE" dirty="0"/>
              <a:t>Stellt eure Fragen gerne </a:t>
            </a:r>
          </a:p>
          <a:p>
            <a:pPr lvl="3"/>
            <a:r>
              <a:rPr lang="de-DE" dirty="0"/>
              <a:t>Per Email: s.winkeljann@kolping-saerbeck.de</a:t>
            </a:r>
          </a:p>
          <a:p>
            <a:pPr lvl="3"/>
            <a:r>
              <a:rPr lang="de-DE" dirty="0"/>
              <a:t>Per Telefon: 0151 12479892 (Stefan Winkeljann)</a:t>
            </a:r>
          </a:p>
          <a:p>
            <a:pPr lvl="3"/>
            <a:endParaRPr lang="de-DE" dirty="0"/>
          </a:p>
          <a:p>
            <a:pPr lvl="2"/>
            <a:r>
              <a:rPr lang="de-DE" dirty="0"/>
              <a:t>Wir werden nicht alle Fragen direkt beantworten, sondern diese zunächst sammeln, sortieren und zusammenfassen, um dann zu gegebener Zeit Antworten darauf zu finden.</a:t>
            </a:r>
          </a:p>
          <a:p>
            <a:pPr lvl="2"/>
            <a:endParaRPr lang="de-DE" dirty="0"/>
          </a:p>
          <a:p>
            <a:pPr lvl="2"/>
            <a:r>
              <a:rPr lang="de-DE" dirty="0"/>
              <a:t>Weitere Informationen folgen zu gegebener Zeit auf unserer Homepage verfügbar: www.kolping-saerbeck.de/ferienlager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BF573E6E-956E-4835-9AD7-D24D672E3A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ure Fragen</a:t>
            </a:r>
          </a:p>
        </p:txBody>
      </p:sp>
    </p:spTree>
    <p:extLst>
      <p:ext uri="{BB962C8B-B14F-4D97-AF65-F5344CB8AC3E}">
        <p14:creationId xmlns:p14="http://schemas.microsoft.com/office/powerpoint/2010/main" val="289666518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5D66F0B-CE35-40D8-8659-E860EFC0C7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85D66F0B-CE35-40D8-8659-E860EFC0C7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78388443-B206-4701-AB9F-D70856376C2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lnSpc>
                <a:spcPct val="113000"/>
              </a:lnSpc>
            </a:pPr>
            <a:endParaRPr lang="de-DE" sz="2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2F527D-01B3-46EE-A8AB-BD1181CE66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| Kolpingsfamilie Saerbeck| Ferienlager Anmeldeabend | Januar 2023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A771327-4241-4A08-A88E-933BCB1FCD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25EFE5-409A-4263-AA86-E37B8055B6A0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795CA0A-D8BC-4711-9FF8-23009114976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lvl="2" indent="0" algn="ctr">
              <a:buNone/>
            </a:pPr>
            <a:endParaRPr lang="de-DE" b="1" dirty="0"/>
          </a:p>
          <a:p>
            <a:pPr marL="0" lvl="2" indent="0" algn="ctr">
              <a:buNone/>
            </a:pPr>
            <a:endParaRPr lang="de-DE" b="1" dirty="0"/>
          </a:p>
          <a:p>
            <a:pPr marL="0" lvl="2" indent="0" algn="ctr">
              <a:buNone/>
            </a:pPr>
            <a:endParaRPr lang="de-DE" b="1" dirty="0"/>
          </a:p>
          <a:p>
            <a:pPr marL="0" lvl="2" indent="0" algn="ctr">
              <a:buNone/>
            </a:pPr>
            <a:endParaRPr lang="de-DE" sz="2000" b="1" dirty="0"/>
          </a:p>
          <a:p>
            <a:pPr marL="0" lvl="2" indent="0" algn="ctr">
              <a:buNone/>
            </a:pPr>
            <a:r>
              <a:rPr lang="de-DE" sz="2000" b="1" dirty="0"/>
              <a:t>Wir hoffen, in diesem Jahr wieder ein erlebnisreiches Ferienlager durchführen zu können.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BF573E6E-956E-4835-9AD7-D24D672E3A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ielen Dank und bis bald!</a:t>
            </a:r>
          </a:p>
        </p:txBody>
      </p:sp>
    </p:spTree>
    <p:extLst>
      <p:ext uri="{BB962C8B-B14F-4D97-AF65-F5344CB8AC3E}">
        <p14:creationId xmlns:p14="http://schemas.microsoft.com/office/powerpoint/2010/main" val="12400845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kt 33" hidden="1">
            <a:extLst>
              <a:ext uri="{FF2B5EF4-FFF2-40B4-BE49-F238E27FC236}">
                <a16:creationId xmlns:a16="http://schemas.microsoft.com/office/drawing/2014/main" id="{2C67F71C-AD12-478C-98DE-F4346EDB7F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34" name="Objekt 33" hidden="1">
                        <a:extLst>
                          <a:ext uri="{FF2B5EF4-FFF2-40B4-BE49-F238E27FC236}">
                            <a16:creationId xmlns:a16="http://schemas.microsoft.com/office/drawing/2014/main" id="{2C67F71C-AD12-478C-98DE-F4346EDB7F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D47934F-3BE3-436E-9246-55B938E48CF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 dirty="0"/>
              <a:t>| Kolpingsfamilie Saerbeck| Ferienlager Anmeldeabend | Januar 2023</a:t>
            </a:r>
          </a:p>
        </p:txBody>
      </p:sp>
      <p:sp>
        <p:nvSpPr>
          <p:cNvPr id="22" name="Foliennummernplatzhalter 21">
            <a:extLst>
              <a:ext uri="{FF2B5EF4-FFF2-40B4-BE49-F238E27FC236}">
                <a16:creationId xmlns:a16="http://schemas.microsoft.com/office/drawing/2014/main" id="{B6379ECB-67A9-4391-865C-0251CEB9080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B245631-31C0-42B7-AEA2-DE79E82BED5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solidFill>
            <a:schemeClr val="bg2"/>
          </a:solidFill>
        </p:spPr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C61F844-A444-4716-857B-68CF478164B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pPr lvl="0"/>
            <a:r>
              <a:rPr lang="de-DE" dirty="0"/>
              <a:t>Allgemeine Informationen zum Ferienlager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94E5DC6-2BFB-483D-87D8-89669E1A50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solidFill>
            <a:schemeClr val="bg2"/>
          </a:solidFill>
        </p:spPr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06793D4-ADF8-4E22-953E-1F7713D8E62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pPr lvl="0"/>
            <a:r>
              <a:rPr lang="de-DE" dirty="0"/>
              <a:t>Die Unterkunf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CFD8829-35B1-40FC-BA18-CE4134C939F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solidFill>
            <a:schemeClr val="bg2"/>
          </a:solidFill>
        </p:spPr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A676EEFB-15D3-4242-8ACC-269785BCB7C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pPr lvl="0"/>
            <a:r>
              <a:rPr lang="de-DE" dirty="0"/>
              <a:t>Anmeldung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ECC1A19B-B67F-460B-89BF-6B6A42A8CB3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5EAB9947-E8F5-4E8A-AEC7-54E04A1B52A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pPr lvl="0"/>
            <a:r>
              <a:rPr lang="de-DE" dirty="0"/>
              <a:t>Eure Fragen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85129028-267D-4737-A938-B9601C12617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47CC1430-A45E-4D5F-94B7-650F66B02AB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9AD78256-7A1F-46E9-A399-457F1CC5429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A7AE973E-E1F0-4A48-91BD-9262EEF9B58F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6BFAEDAB-9F2A-4EE6-8E8C-607693501A6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3A8B9891-F1C1-4FDD-916D-15ADEE21BCFA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F781D315-9017-4C65-8EC8-3E8516145ED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B2B449B3-B7B5-4C4B-945E-7C6D4B0B1FA4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714DE5-D388-47CC-B097-07E7A3D91D99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9073241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kt 33" hidden="1">
            <a:extLst>
              <a:ext uri="{FF2B5EF4-FFF2-40B4-BE49-F238E27FC236}">
                <a16:creationId xmlns:a16="http://schemas.microsoft.com/office/drawing/2014/main" id="{2C67F71C-AD12-478C-98DE-F4346EDB7F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34" name="Objekt 33" hidden="1">
                        <a:extLst>
                          <a:ext uri="{FF2B5EF4-FFF2-40B4-BE49-F238E27FC236}">
                            <a16:creationId xmlns:a16="http://schemas.microsoft.com/office/drawing/2014/main" id="{2C67F71C-AD12-478C-98DE-F4346EDB7F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D47934F-3BE3-436E-9246-55B938E48CF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 dirty="0"/>
              <a:t>| Kolpingsfamilie Saerbeck| Ferienlager Anmeldeabend | Januar 2023</a:t>
            </a:r>
          </a:p>
        </p:txBody>
      </p:sp>
      <p:sp>
        <p:nvSpPr>
          <p:cNvPr id="22" name="Foliennummernplatzhalter 21">
            <a:extLst>
              <a:ext uri="{FF2B5EF4-FFF2-40B4-BE49-F238E27FC236}">
                <a16:creationId xmlns:a16="http://schemas.microsoft.com/office/drawing/2014/main" id="{B6379ECB-67A9-4391-865C-0251CEB9080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B245631-31C0-42B7-AEA2-DE79E82BED5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solidFill>
            <a:schemeClr val="tx2"/>
          </a:solidFill>
          <a:ln>
            <a:solidFill>
              <a:schemeClr val="accent1"/>
            </a:solidFill>
          </a:ln>
        </p:spPr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C61F844-A444-4716-857B-68CF478164B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pPr lvl="0"/>
            <a:r>
              <a:rPr lang="de-DE" dirty="0"/>
              <a:t>Allgemeine Informationen zum Ferienlager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94E5DC6-2BFB-483D-87D8-89669E1A50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solidFill>
            <a:schemeClr val="bg2"/>
          </a:solidFill>
        </p:spPr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06793D4-ADF8-4E22-953E-1F7713D8E62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pPr lvl="0"/>
            <a:r>
              <a:rPr lang="de-DE" dirty="0"/>
              <a:t>Die Unterkunf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CFD8829-35B1-40FC-BA18-CE4134C939F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solidFill>
            <a:schemeClr val="bg2"/>
          </a:solidFill>
        </p:spPr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A676EEFB-15D3-4242-8ACC-269785BCB7C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pPr lvl="0"/>
            <a:r>
              <a:rPr lang="de-DE" dirty="0"/>
              <a:t>Anmeldung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ECC1A19B-B67F-460B-89BF-6B6A42A8CB3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5EAB9947-E8F5-4E8A-AEC7-54E04A1B52A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pPr lvl="0"/>
            <a:r>
              <a:rPr lang="de-DE" dirty="0"/>
              <a:t>Eure Fragen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85129028-267D-4737-A938-B9601C12617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47CC1430-A45E-4D5F-94B7-650F66B02AB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9AD78256-7A1F-46E9-A399-457F1CC5429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A7AE973E-E1F0-4A48-91BD-9262EEF9B58F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6BFAEDAB-9F2A-4EE6-8E8C-607693501A6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3A8B9891-F1C1-4FDD-916D-15ADEE21BCFA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F781D315-9017-4C65-8EC8-3E8516145ED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B2B449B3-B7B5-4C4B-945E-7C6D4B0B1FA4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714DE5-D388-47CC-B097-07E7A3D91D99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1770502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5D66F0B-CE35-40D8-8659-E860EFC0C7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85D66F0B-CE35-40D8-8659-E860EFC0C7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78388443-B206-4701-AB9F-D70856376C2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lnSpc>
                <a:spcPct val="113000"/>
              </a:lnSpc>
            </a:pPr>
            <a:endParaRPr lang="de-DE" sz="2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2F527D-01B3-46EE-A8AB-BD1181CE66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| Kolpingsfamilie Saerbeck| Ferienlager Anmeldeabend | Januar 2023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A771327-4241-4A08-A88E-933BCB1FCD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25EFE5-409A-4263-AA86-E37B8055B6A0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795CA0A-D8BC-4711-9FF8-23009114976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lvl="2" indent="0">
              <a:buNone/>
            </a:pPr>
            <a:r>
              <a:rPr lang="de-DE" b="1" dirty="0"/>
              <a:t>Neue Rahmendaten</a:t>
            </a:r>
          </a:p>
          <a:p>
            <a:pPr lvl="2"/>
            <a:r>
              <a:rPr lang="de-DE" dirty="0"/>
              <a:t>Zeitraum:	Sonntag, 25.06.2023, ab ca. 15:00 Uhr</a:t>
            </a:r>
            <a:br>
              <a:rPr lang="de-DE" dirty="0"/>
            </a:br>
            <a:r>
              <a:rPr lang="de-DE" dirty="0"/>
              <a:t>		</a:t>
            </a:r>
            <a:r>
              <a:rPr lang="de-DE" dirty="0">
                <a:highlight>
                  <a:srgbClr val="FFFFFF"/>
                </a:highlight>
              </a:rPr>
              <a:t>Mittwoch, 05.07.2023, bis ca. 13:00 Uhr </a:t>
            </a:r>
          </a:p>
          <a:p>
            <a:pPr lvl="2"/>
            <a:r>
              <a:rPr lang="de-DE" dirty="0"/>
              <a:t>Anreise:		Reisebus ab Saerbeck</a:t>
            </a:r>
          </a:p>
          <a:p>
            <a:pPr lvl="2"/>
            <a:r>
              <a:rPr lang="de-DE" dirty="0">
                <a:highlight>
                  <a:srgbClr val="FFFFFF"/>
                </a:highlight>
              </a:rPr>
              <a:t>Fahrräder:	Ja</a:t>
            </a:r>
          </a:p>
          <a:p>
            <a:pPr lvl="2"/>
            <a:r>
              <a:rPr lang="de-DE" dirty="0"/>
              <a:t>Ziel:		Schullandheim Ristedt (Syke bei Bremen)</a:t>
            </a:r>
          </a:p>
          <a:p>
            <a:pPr lvl="2"/>
            <a:r>
              <a:rPr lang="de-DE" dirty="0"/>
              <a:t>Teilnehmer:	50 Kinder</a:t>
            </a:r>
          </a:p>
          <a:p>
            <a:pPr lvl="2"/>
            <a:r>
              <a:rPr lang="de-DE" dirty="0"/>
              <a:t>Alter:		9 – 14 Jahre (oder VOR den Sommerferien die dritte Klasse besuchen)</a:t>
            </a:r>
          </a:p>
          <a:p>
            <a:pPr lvl="2"/>
            <a:r>
              <a:rPr lang="de-DE" dirty="0"/>
              <a:t>Betreuer-Team:	13 Personen</a:t>
            </a:r>
          </a:p>
          <a:p>
            <a:pPr lvl="3"/>
            <a:r>
              <a:rPr lang="de-DE" dirty="0"/>
              <a:t>LAGA-Leitung 	Stefan Winkeljann</a:t>
            </a:r>
          </a:p>
          <a:p>
            <a:pPr lvl="3"/>
            <a:r>
              <a:rPr lang="de-DE" dirty="0"/>
              <a:t>Küche (4)	Anita Beuning, Anne Grüter, Markus Koch, Caro Winter</a:t>
            </a:r>
          </a:p>
          <a:p>
            <a:pPr lvl="3"/>
            <a:r>
              <a:rPr lang="de-DE" dirty="0"/>
              <a:t>Leiter (4)	</a:t>
            </a:r>
            <a:r>
              <a:rPr lang="de-DE" dirty="0">
                <a:highlight>
                  <a:srgbClr val="FFFFFF"/>
                </a:highlight>
              </a:rPr>
              <a:t>Jannik Thiede</a:t>
            </a:r>
            <a:r>
              <a:rPr lang="de-DE" dirty="0"/>
              <a:t>, Paul Hörsting, Louis Stegemann, Jonas </a:t>
            </a:r>
            <a:r>
              <a:rPr lang="de-DE" dirty="0" err="1"/>
              <a:t>Weiligmann</a:t>
            </a:r>
            <a:endParaRPr lang="de-DE" dirty="0"/>
          </a:p>
          <a:p>
            <a:pPr lvl="3"/>
            <a:r>
              <a:rPr lang="de-DE" dirty="0"/>
              <a:t>Leiterinnen (4)	Julia Eggenhaus, Leonie Offermann, </a:t>
            </a:r>
            <a:r>
              <a:rPr lang="de-DE" dirty="0" err="1"/>
              <a:t>Lya</a:t>
            </a:r>
            <a:r>
              <a:rPr lang="de-DE" dirty="0"/>
              <a:t> Beuning, Mira </a:t>
            </a:r>
            <a:r>
              <a:rPr lang="de-DE" dirty="0" err="1"/>
              <a:t>Reckfort</a:t>
            </a:r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BF573E6E-956E-4835-9AD7-D24D672E3A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llgemeine Informationen</a:t>
            </a:r>
          </a:p>
        </p:txBody>
      </p:sp>
    </p:spTree>
    <p:extLst>
      <p:ext uri="{BB962C8B-B14F-4D97-AF65-F5344CB8AC3E}">
        <p14:creationId xmlns:p14="http://schemas.microsoft.com/office/powerpoint/2010/main" val="10206594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5D66F0B-CE35-40D8-8659-E860EFC0C7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85D66F0B-CE35-40D8-8659-E860EFC0C7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78388443-B206-4701-AB9F-D70856376C2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lnSpc>
                <a:spcPct val="113000"/>
              </a:lnSpc>
            </a:pPr>
            <a:endParaRPr lang="de-DE" sz="2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2F527D-01B3-46EE-A8AB-BD1181CE66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| Kolpingsfamilie Saerbeck| Ferienlager Anmeldeabend | Januar 2023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A771327-4241-4A08-A88E-933BCB1FCD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25EFE5-409A-4263-AA86-E37B8055B6A0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795CA0A-D8BC-4711-9FF8-23009114976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lvl="2" indent="0">
              <a:buNone/>
            </a:pPr>
            <a:r>
              <a:rPr lang="de-DE" b="1" dirty="0"/>
              <a:t>Programm</a:t>
            </a:r>
          </a:p>
          <a:p>
            <a:pPr lvl="2"/>
            <a:r>
              <a:rPr lang="de-DE" dirty="0"/>
              <a:t>Täglich drei Programmpunkte (vormittags, nachmittags, abends)</a:t>
            </a:r>
          </a:p>
          <a:p>
            <a:pPr lvl="3"/>
            <a:r>
              <a:rPr lang="de-DE" dirty="0"/>
              <a:t>Tagsüber eher Bewegungsspiele</a:t>
            </a:r>
          </a:p>
          <a:p>
            <a:pPr lvl="3"/>
            <a:r>
              <a:rPr lang="de-DE" dirty="0"/>
              <a:t>Abends eher Spieleshows und ähnliches</a:t>
            </a:r>
          </a:p>
          <a:p>
            <a:pPr lvl="2"/>
            <a:r>
              <a:rPr lang="de-DE" dirty="0"/>
              <a:t>Ausflüge (Schwimmbad, Einkaufs-/Stadt-Tour, besondere Freizeitangebote,…)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BF573E6E-956E-4835-9AD7-D24D672E3A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llgemeine Informationen</a:t>
            </a:r>
          </a:p>
        </p:txBody>
      </p:sp>
    </p:spTree>
    <p:extLst>
      <p:ext uri="{BB962C8B-B14F-4D97-AF65-F5344CB8AC3E}">
        <p14:creationId xmlns:p14="http://schemas.microsoft.com/office/powerpoint/2010/main" val="28962262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5D66F0B-CE35-40D8-8659-E860EFC0C7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85D66F0B-CE35-40D8-8659-E860EFC0C7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78388443-B206-4701-AB9F-D70856376C2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lnSpc>
                <a:spcPct val="113000"/>
              </a:lnSpc>
            </a:pPr>
            <a:endParaRPr lang="de-DE" sz="2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2F527D-01B3-46EE-A8AB-BD1181CE66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| Kolpingsfamilie Saerbeck| Ferienlager Anmeldeabend | Januar 2023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A771327-4241-4A08-A88E-933BCB1FCD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25EFE5-409A-4263-AA86-E37B8055B6A0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795CA0A-D8BC-4711-9FF8-23009114976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lvl="2" indent="0">
              <a:buNone/>
            </a:pPr>
            <a:r>
              <a:rPr lang="de-DE" b="1" dirty="0"/>
              <a:t>Kosten</a:t>
            </a:r>
          </a:p>
          <a:p>
            <a:pPr lvl="2"/>
            <a:r>
              <a:rPr lang="de-DE" dirty="0"/>
              <a:t>265,00 € pro Person		(Kosten für Nicht-Saerbecker fallen aufgrund ausbleibender Zuschüsse höher aus)</a:t>
            </a:r>
          </a:p>
          <a:p>
            <a:pPr lvl="2"/>
            <a:r>
              <a:rPr lang="de-DE" dirty="0"/>
              <a:t>Davon 50,00 € Anzahlung</a:t>
            </a:r>
          </a:p>
          <a:p>
            <a:pPr lvl="2"/>
            <a:r>
              <a:rPr lang="de-DE" dirty="0">
                <a:highlight>
                  <a:srgbClr val="FFFFFF"/>
                </a:highlight>
              </a:rPr>
              <a:t>Zuzüglich 15,00 € Taschengeld</a:t>
            </a:r>
            <a:r>
              <a:rPr lang="de-DE" dirty="0"/>
              <a:t>		</a:t>
            </a:r>
          </a:p>
          <a:p>
            <a:pPr lvl="2"/>
            <a:endParaRPr lang="de-DE" dirty="0"/>
          </a:p>
          <a:p>
            <a:pPr lvl="2"/>
            <a:r>
              <a:rPr lang="de-DE" dirty="0"/>
              <a:t>Einzug des Restbetrages und Taschengeldes erfolgen 4-6 Wochen vorher</a:t>
            </a:r>
            <a:endParaRPr lang="de-DE" dirty="0">
              <a:highlight>
                <a:srgbClr val="FFFF00"/>
              </a:highlight>
            </a:endParaRPr>
          </a:p>
          <a:p>
            <a:pPr lvl="2"/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BF573E6E-956E-4835-9AD7-D24D672E3A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llgemeine Informationen</a:t>
            </a:r>
          </a:p>
        </p:txBody>
      </p:sp>
    </p:spTree>
    <p:extLst>
      <p:ext uri="{BB962C8B-B14F-4D97-AF65-F5344CB8AC3E}">
        <p14:creationId xmlns:p14="http://schemas.microsoft.com/office/powerpoint/2010/main" val="20891279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5D66F0B-CE35-40D8-8659-E860EFC0C7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85D66F0B-CE35-40D8-8659-E860EFC0C7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78388443-B206-4701-AB9F-D70856376C2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lnSpc>
                <a:spcPct val="113000"/>
              </a:lnSpc>
            </a:pPr>
            <a:endParaRPr lang="de-DE" sz="2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2F527D-01B3-46EE-A8AB-BD1181CE66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| Kolpingsfamilie Saerbeck| Ferienlager Anmeldeabend | Januar 2023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A771327-4241-4A08-A88E-933BCB1FCD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25EFE5-409A-4263-AA86-E37B8055B6A0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795CA0A-D8BC-4711-9FF8-23009114976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lvl="2" indent="0">
              <a:buNone/>
            </a:pPr>
            <a:r>
              <a:rPr lang="de-DE" b="1" dirty="0"/>
              <a:t>Detaillierte Informationen folgen kurz vor dem Ferienlager:</a:t>
            </a:r>
          </a:p>
          <a:p>
            <a:pPr lvl="2"/>
            <a:r>
              <a:rPr lang="de-DE" dirty="0"/>
              <a:t>Elternabend (Montag, 05.06., 19:30 Uhr im MGH)</a:t>
            </a:r>
          </a:p>
          <a:p>
            <a:pPr lvl="3"/>
            <a:r>
              <a:rPr lang="de-DE" dirty="0"/>
              <a:t>Merkzettel und Packliste</a:t>
            </a:r>
          </a:p>
          <a:p>
            <a:pPr lvl="3"/>
            <a:r>
              <a:rPr lang="de-DE" dirty="0"/>
              <a:t>Genaue Anreise und Heimreise</a:t>
            </a:r>
          </a:p>
          <a:p>
            <a:pPr lvl="3"/>
            <a:r>
              <a:rPr lang="de-DE" dirty="0"/>
              <a:t>Vorstellung Betreuerteam</a:t>
            </a:r>
          </a:p>
          <a:p>
            <a:pPr lvl="3"/>
            <a:r>
              <a:rPr lang="de-DE" dirty="0"/>
              <a:t>Erreichbarkeiten, Notfallnummern, „LAGA-News“</a:t>
            </a:r>
          </a:p>
          <a:p>
            <a:pPr lvl="2"/>
            <a:r>
              <a:rPr lang="de-DE" dirty="0"/>
              <a:t>Gruppen- und Zimmereinteilung (Mittwoch, 07.06., 17:30 Uhr Jungen / 18:00 Uhr Mädchen im MGH)</a:t>
            </a:r>
          </a:p>
          <a:p>
            <a:pPr lvl="3"/>
            <a:r>
              <a:rPr lang="de-DE" dirty="0"/>
              <a:t>Einteilung der Ferienlager-Gruppen mit den Kindern</a:t>
            </a:r>
          </a:p>
          <a:p>
            <a:pPr lvl="3"/>
            <a:r>
              <a:rPr lang="de-DE" dirty="0"/>
              <a:t>Einteilung der Zimmerbelegung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BF573E6E-956E-4835-9AD7-D24D672E3A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llgemeine Informationen</a:t>
            </a:r>
          </a:p>
        </p:txBody>
      </p:sp>
    </p:spTree>
    <p:extLst>
      <p:ext uri="{BB962C8B-B14F-4D97-AF65-F5344CB8AC3E}">
        <p14:creationId xmlns:p14="http://schemas.microsoft.com/office/powerpoint/2010/main" val="23641104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kt 33" hidden="1">
            <a:extLst>
              <a:ext uri="{FF2B5EF4-FFF2-40B4-BE49-F238E27FC236}">
                <a16:creationId xmlns:a16="http://schemas.microsoft.com/office/drawing/2014/main" id="{2C67F71C-AD12-478C-98DE-F4346EDB7F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34" name="Objekt 33" hidden="1">
                        <a:extLst>
                          <a:ext uri="{FF2B5EF4-FFF2-40B4-BE49-F238E27FC236}">
                            <a16:creationId xmlns:a16="http://schemas.microsoft.com/office/drawing/2014/main" id="{2C67F71C-AD12-478C-98DE-F4346EDB7F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D47934F-3BE3-436E-9246-55B938E48CF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 dirty="0"/>
              <a:t>| Kolpingsfamilie Saerbeck| Ferienlager Anmeldeabend | Januar 2023</a:t>
            </a:r>
          </a:p>
        </p:txBody>
      </p:sp>
      <p:sp>
        <p:nvSpPr>
          <p:cNvPr id="22" name="Foliennummernplatzhalter 21">
            <a:extLst>
              <a:ext uri="{FF2B5EF4-FFF2-40B4-BE49-F238E27FC236}">
                <a16:creationId xmlns:a16="http://schemas.microsoft.com/office/drawing/2014/main" id="{B6379ECB-67A9-4391-865C-0251CEB9080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925EFE5-409A-4263-AA86-E37B8055B6A0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B245631-31C0-42B7-AEA2-DE79E82BED5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solidFill>
            <a:schemeClr val="bg2"/>
          </a:solidFill>
        </p:spPr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C61F844-A444-4716-857B-68CF478164B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pPr lvl="0"/>
            <a:r>
              <a:rPr lang="de-DE" dirty="0"/>
              <a:t>Allgemeine Informationen zum Ferienlager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94E5DC6-2BFB-483D-87D8-89669E1A50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solidFill>
            <a:schemeClr val="tx2"/>
          </a:solidFill>
        </p:spPr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06793D4-ADF8-4E22-953E-1F7713D8E62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/>
          <a:p>
            <a:pPr lvl="0"/>
            <a:r>
              <a:rPr lang="de-DE" dirty="0"/>
              <a:t>Die Unterkunf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CFD8829-35B1-40FC-BA18-CE4134C939F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solidFill>
            <a:schemeClr val="bg2"/>
          </a:solidFill>
        </p:spPr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A676EEFB-15D3-4242-8ACC-269785BCB7C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 bwMode="gray"/>
        <p:txBody>
          <a:bodyPr/>
          <a:lstStyle/>
          <a:p>
            <a:pPr lvl="0"/>
            <a:r>
              <a:rPr lang="de-DE" dirty="0"/>
              <a:t>Anmeldung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ECC1A19B-B67F-460B-89BF-6B6A42A8CB3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5EAB9947-E8F5-4E8A-AEC7-54E04A1B52A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pPr lvl="0"/>
            <a:r>
              <a:rPr lang="de-DE" dirty="0"/>
              <a:t>Eure Fragen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85129028-267D-4737-A938-B9601C12617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47CC1430-A45E-4D5F-94B7-650F66B02AB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9AD78256-7A1F-46E9-A399-457F1CC5429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A7AE973E-E1F0-4A48-91BD-9262EEF9B58F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6BFAEDAB-9F2A-4EE6-8E8C-607693501A6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3A8B9891-F1C1-4FDD-916D-15ADEE21BCFA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F781D315-9017-4C65-8EC8-3E8516145ED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B2B449B3-B7B5-4C4B-945E-7C6D4B0B1FA4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714DE5-D388-47CC-B097-07E7A3D91D99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3843681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5D66F0B-CE35-40D8-8659-E860EFC0C7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85D66F0B-CE35-40D8-8659-E860EFC0C7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78388443-B206-4701-AB9F-D70856376C2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lnSpc>
                <a:spcPct val="113000"/>
              </a:lnSpc>
            </a:pPr>
            <a:endParaRPr lang="de-DE" sz="2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2F527D-01B3-46EE-A8AB-BD1181CE66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| Kolpingsfamilie Saerbeck| Ferienlager Anmeldeabend | Januar 2023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A771327-4241-4A08-A88E-933BCB1FCD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925EFE5-409A-4263-AA86-E37B8055B6A0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795CA0A-D8BC-4711-9FF8-23009114976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5400" y="1844823"/>
            <a:ext cx="2592288" cy="3887923"/>
          </a:xfrm>
          <a:solidFill>
            <a:srgbClr val="FFFFFF">
              <a:alpha val="67059"/>
            </a:srgbClr>
          </a:solidFill>
        </p:spPr>
        <p:txBody>
          <a:bodyPr/>
          <a:lstStyle/>
          <a:p>
            <a:pPr marL="0" lvl="2" indent="0">
              <a:buNone/>
            </a:pPr>
            <a:r>
              <a:rPr lang="de-DE" b="1" dirty="0"/>
              <a:t>Die Unterkunft</a:t>
            </a:r>
          </a:p>
          <a:p>
            <a:pPr lvl="2"/>
            <a:r>
              <a:rPr lang="de-DE" dirty="0"/>
              <a:t>Schullandheim Ristedt</a:t>
            </a:r>
            <a:br>
              <a:rPr lang="de-DE" dirty="0"/>
            </a:br>
            <a:r>
              <a:rPr lang="de-DE" dirty="0" err="1"/>
              <a:t>Helgolander</a:t>
            </a:r>
            <a:r>
              <a:rPr lang="de-DE" dirty="0"/>
              <a:t> Straße 67 – 69, </a:t>
            </a:r>
            <a:br>
              <a:rPr lang="de-DE" dirty="0"/>
            </a:br>
            <a:r>
              <a:rPr lang="de-DE" dirty="0"/>
              <a:t>28217 Bremen</a:t>
            </a:r>
          </a:p>
          <a:p>
            <a:pPr lvl="2"/>
            <a:r>
              <a:rPr lang="de-DE" dirty="0"/>
              <a:t>150 km Entfernung</a:t>
            </a:r>
          </a:p>
          <a:p>
            <a:pPr lvl="2"/>
            <a:r>
              <a:rPr lang="de-DE" dirty="0"/>
              <a:t>Details im Internet</a:t>
            </a:r>
          </a:p>
          <a:p>
            <a:pPr lvl="2"/>
            <a:endParaRPr lang="de-DE" dirty="0"/>
          </a:p>
          <a:p>
            <a:pPr lvl="2"/>
            <a:r>
              <a:rPr lang="de-DE" dirty="0"/>
              <a:t>4-, 6- und 8-Bettzimmer</a:t>
            </a:r>
            <a:br>
              <a:rPr lang="de-DE" dirty="0"/>
            </a:br>
            <a:endParaRPr lang="de-DE" dirty="0"/>
          </a:p>
          <a:p>
            <a:pPr marL="0" lvl="2" indent="0">
              <a:buNone/>
            </a:pPr>
            <a:r>
              <a:rPr lang="de-DE" dirty="0"/>
              <a:t>	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BF573E6E-956E-4835-9AD7-D24D672E3A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Unterkunft</a:t>
            </a:r>
          </a:p>
        </p:txBody>
      </p:sp>
      <p:graphicFrame>
        <p:nvGraphicFramePr>
          <p:cNvPr id="8" name="Objekt 7">
            <a:extLst>
              <a:ext uri="{FF2B5EF4-FFF2-40B4-BE49-F238E27FC236}">
                <a16:creationId xmlns:a16="http://schemas.microsoft.com/office/drawing/2014/main" id="{6654CFD3-3233-31DA-FDB3-4FE684A664B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87666993"/>
              </p:ext>
            </p:extLst>
          </p:nvPr>
        </p:nvGraphicFramePr>
        <p:xfrm>
          <a:off x="3287688" y="1822528"/>
          <a:ext cx="4724330" cy="41591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Bitmap Image" r:id="rId6" imgW="5852160" imgH="5151240" progId="PBrush">
                  <p:embed/>
                </p:oleObj>
              </mc:Choice>
              <mc:Fallback>
                <p:oleObj name="Bitmap Image" r:id="rId6" imgW="5852160" imgH="5151240" progId="PBrush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287688" y="1822528"/>
                        <a:ext cx="4724330" cy="415910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61A71589-F123-4363-B70A-349BA85A5041}"/>
              </a:ext>
            </a:extLst>
          </p:cNvPr>
          <p:cNvSpPr txBox="1">
            <a:spLocks/>
          </p:cNvSpPr>
          <p:nvPr/>
        </p:nvSpPr>
        <p:spPr bwMode="gray">
          <a:xfrm>
            <a:off x="767408" y="5769260"/>
            <a:ext cx="3204356" cy="252128"/>
          </a:xfrm>
          <a:prstGeom prst="rect">
            <a:avLst/>
          </a:prstGeom>
          <a:solidFill>
            <a:srgbClr val="FFFFFF">
              <a:alpha val="67059"/>
            </a:srgbClr>
          </a:solidFill>
          <a:ln>
            <a:solidFill>
              <a:srgbClr val="FFFFFF">
                <a:alpha val="49804"/>
              </a:srgbClr>
            </a:solidFill>
          </a:ln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5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 spc="-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 spc="-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5000"/>
              </a:lnSpc>
              <a:spcBef>
                <a:spcPts val="4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 spc="-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5000"/>
              </a:lnSpc>
              <a:spcBef>
                <a:spcPts val="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400" kern="1200" spc="-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5000"/>
              </a:lnSpc>
              <a:spcBef>
                <a:spcPts val="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400" kern="1200" spc="-1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buFont typeface="Wingdings" panose="05000000000000000000" pitchFamily="2" charset="2"/>
              <a:buNone/>
            </a:pPr>
            <a:r>
              <a:rPr lang="de-DE" dirty="0"/>
              <a:t>https://www.schullandheim-ristedt.de/</a:t>
            </a:r>
          </a:p>
        </p:txBody>
      </p:sp>
    </p:spTree>
    <p:extLst>
      <p:ext uri="{BB962C8B-B14F-4D97-AF65-F5344CB8AC3E}">
        <p14:creationId xmlns:p14="http://schemas.microsoft.com/office/powerpoint/2010/main" val="2312811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lm6IKvYYDGo80Yfk280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lm6IKvYYDGo80Yfk280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lm6IKvYYDGo80Yfk280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lm6IKvYYDGo80Yfk280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75eMKfUqoFYWV5ylyDB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lm6IKvYYDGo80Yfk280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DWMBwtcj_yTTID_sguF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DWMBwtcj_yTTID_sguF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7mrDwR5l3BZMc_ZX1Qm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7mrDwR5l3BZMc_ZX1Qm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7mrDwR5l3BZMc_ZX1Qm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7mrDwR5l3BZMc_ZX1Qm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7mrDwR5l3BZMc_ZX1Qm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7mrDwR5l3BZMc_ZX1Qm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7mrDwR5l3BZMc_ZX1Qm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o4kk.b0DaC7ARymj0fU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7mrDwR5l3BZMc_ZX1Qm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7mrDwR5l3BZMc_ZX1Qm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DWMBwtcj_yTTID_sguF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DWMBwtcj_yTTID_sguF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DWMBwtcj_yTTID_sgu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DWMBwtcj_yTTID_sguF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DWMBwtcj_yTTID_sguF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tKnQGzOIQq487474FXj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SCG6h.MRnvvM3Eyr4ht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XVQRvp40NYD9GZSPjVH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75eMKfUqoFYWV5ylyDB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DWMBwtcj_yTTID_sguF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DWMBwtcj_yTTID_sguF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Xzm37cryjshZpMGfSId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QbYox09zP8P4b_B7dSj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XVQRvp40NYD9GZSPjVH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DWMBwtcj_yTTID_sguF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DWMBwtcj_yTTID_sguF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DWMBwtcj_yTTID_sguF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DWMBwtcj_yTTID_sguF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DWMBwtcj_yTTID_sguF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75eMKfUqoFYWV5ylyDB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DWMBwtcj_yTTID_sguF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tKnQGzOIQq487474FXj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SCG6h.MRnvvM3Eyr4ht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QbYox09zP8P4b_B7dSj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XVQRvp40NYD9GZSPjVH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XVQRvp40NYD9GZSPjVH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Xq_AufOddcDojmYHIwp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lm6IKvYYDGo80Yfk280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lm6IKvYYDGo80Yfk280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75eMKfUqoFYWV5ylyDB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lm6IKvYYDGo80Yfk280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lm6IKvYYDGo80Yfk280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lm6IKvYYDGo80Yfk280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lm6IKvYYDGo80Yfk280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olping PPT Master 16:9 (Quadrat)">
  <a:themeElements>
    <a:clrScheme name="Kolping 2020">
      <a:dk1>
        <a:sysClr val="windowText" lastClr="000000"/>
      </a:dk1>
      <a:lt1>
        <a:sysClr val="window" lastClr="FFFFFF"/>
      </a:lt1>
      <a:dk2>
        <a:srgbClr val="FF8C00"/>
      </a:dk2>
      <a:lt2>
        <a:srgbClr val="FFDCA5"/>
      </a:lt2>
      <a:accent1>
        <a:srgbClr val="FF8C00"/>
      </a:accent1>
      <a:accent2>
        <a:srgbClr val="74056F"/>
      </a:accent2>
      <a:accent3>
        <a:srgbClr val="1D728A"/>
      </a:accent3>
      <a:accent4>
        <a:srgbClr val="9B0687"/>
      </a:accent4>
      <a:accent5>
        <a:srgbClr val="41A0A0"/>
      </a:accent5>
      <a:accent6>
        <a:srgbClr val="285DA6"/>
      </a:accent6>
      <a:hlink>
        <a:srgbClr val="285DA6"/>
      </a:hlink>
      <a:folHlink>
        <a:srgbClr val="74056F"/>
      </a:folHlink>
    </a:clrScheme>
    <a:fontScheme name="Kolping 2020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t"/>
      <a:lstStyle>
        <a:defPPr marL="180000" indent="-180000" algn="l">
          <a:lnSpc>
            <a:spcPct val="113000"/>
          </a:lnSpc>
          <a:buFont typeface="Wingdings" panose="05000000000000000000" pitchFamily="2" charset="2"/>
          <a:buChar char="§"/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 algn="l">
          <a:lnSpc>
            <a:spcPct val="113000"/>
          </a:lnSpc>
          <a:buFont typeface="Wingdings" panose="05000000000000000000" pitchFamily="2" charset="2"/>
          <a:buChar char="§"/>
          <a:defRPr dirty="0" err="1" smtClean="0"/>
        </a:defPPr>
      </a:lstStyle>
    </a:txDef>
  </a:objectDefaults>
  <a:extraClrSchemeLst/>
  <a:custClrLst>
    <a:custClr>
      <a:srgbClr val="449CDB"/>
    </a:custClr>
    <a:custClr>
      <a:srgbClr val="B2CE36"/>
    </a:custClr>
    <a:custClr>
      <a:srgbClr val="AA9C7C"/>
    </a:custClr>
    <a:custClr>
      <a:srgbClr val="E8C425"/>
    </a:custClr>
    <a:custClr>
      <a:srgbClr val="777777"/>
    </a:custClr>
    <a:custClr>
      <a:srgbClr val="9A9A9A"/>
    </a:custClr>
    <a:custClr>
      <a:srgbClr val="DCDCDC"/>
    </a:custClr>
  </a:custClrLst>
  <a:extLst>
    <a:ext uri="{05A4C25C-085E-4340-85A3-A5531E510DB2}">
      <thm15:themeFamily xmlns:thm15="http://schemas.microsoft.com/office/thememl/2012/main" name="KOLPING_Vorlage_Quadrat_scr01.potx" id="{AEEF65E1-F2B0-46A8-BF38-3A6D04066979}" vid="{22C303E9-29BB-4FC7-B5DD-FB4C6C40B05E}"/>
    </a:ext>
  </a:extLst>
</a:theme>
</file>

<file path=ppt/theme/theme2.xml><?xml version="1.0" encoding="utf-8"?>
<a:theme xmlns:a="http://schemas.openxmlformats.org/drawingml/2006/main" name="Office">
  <a:themeElements>
    <a:clrScheme name="Kolping 2020">
      <a:dk1>
        <a:sysClr val="windowText" lastClr="000000"/>
      </a:dk1>
      <a:lt1>
        <a:sysClr val="window" lastClr="FFFFFF"/>
      </a:lt1>
      <a:dk2>
        <a:srgbClr val="FF8C00"/>
      </a:dk2>
      <a:lt2>
        <a:srgbClr val="FFDCA5"/>
      </a:lt2>
      <a:accent1>
        <a:srgbClr val="FF8C00"/>
      </a:accent1>
      <a:accent2>
        <a:srgbClr val="74056F"/>
      </a:accent2>
      <a:accent3>
        <a:srgbClr val="1D728A"/>
      </a:accent3>
      <a:accent4>
        <a:srgbClr val="9B0687"/>
      </a:accent4>
      <a:accent5>
        <a:srgbClr val="41A0A0"/>
      </a:accent5>
      <a:accent6>
        <a:srgbClr val="285DA6"/>
      </a:accent6>
      <a:hlink>
        <a:srgbClr val="285DA6"/>
      </a:hlink>
      <a:folHlink>
        <a:srgbClr val="74056F"/>
      </a:folHlink>
    </a:clrScheme>
    <a:fontScheme name="Kolping 2020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Kolping 2020">
      <a:dk1>
        <a:sysClr val="windowText" lastClr="000000"/>
      </a:dk1>
      <a:lt1>
        <a:sysClr val="window" lastClr="FFFFFF"/>
      </a:lt1>
      <a:dk2>
        <a:srgbClr val="FF8C00"/>
      </a:dk2>
      <a:lt2>
        <a:srgbClr val="FFDCA5"/>
      </a:lt2>
      <a:accent1>
        <a:srgbClr val="FF8C00"/>
      </a:accent1>
      <a:accent2>
        <a:srgbClr val="74056F"/>
      </a:accent2>
      <a:accent3>
        <a:srgbClr val="1D728A"/>
      </a:accent3>
      <a:accent4>
        <a:srgbClr val="9B0687"/>
      </a:accent4>
      <a:accent5>
        <a:srgbClr val="41A0A0"/>
      </a:accent5>
      <a:accent6>
        <a:srgbClr val="285DA6"/>
      </a:accent6>
      <a:hlink>
        <a:srgbClr val="285DA6"/>
      </a:hlink>
      <a:folHlink>
        <a:srgbClr val="74056F"/>
      </a:folHlink>
    </a:clrScheme>
    <a:fontScheme name="Kolping 2020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841</Words>
  <Application>Microsoft Office PowerPoint</Application>
  <PresentationFormat>Breitbild</PresentationFormat>
  <Paragraphs>165</Paragraphs>
  <Slides>17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17</vt:i4>
      </vt:variant>
    </vt:vector>
  </HeadingPairs>
  <TitlesOfParts>
    <vt:vector size="23" baseType="lpstr">
      <vt:lpstr>Arial</vt:lpstr>
      <vt:lpstr>Calibri</vt:lpstr>
      <vt:lpstr>Wingdings</vt:lpstr>
      <vt:lpstr>Kolping PPT Master 16:9 (Quadrat)</vt:lpstr>
      <vt:lpstr>think-cell Folie</vt:lpstr>
      <vt:lpstr>Bitmap Image</vt:lpstr>
      <vt:lpstr>Ferienlager 2023 – Anmeldeabend  </vt:lpstr>
      <vt:lpstr>Agenda</vt:lpstr>
      <vt:lpstr>Agenda</vt:lpstr>
      <vt:lpstr>Allgemeine Informationen</vt:lpstr>
      <vt:lpstr>Allgemeine Informationen</vt:lpstr>
      <vt:lpstr>Allgemeine Informationen</vt:lpstr>
      <vt:lpstr>Allgemeine Informationen</vt:lpstr>
      <vt:lpstr>Agenda</vt:lpstr>
      <vt:lpstr>Die Unterkunft</vt:lpstr>
      <vt:lpstr>Die Unterkunft</vt:lpstr>
      <vt:lpstr>Agenda</vt:lpstr>
      <vt:lpstr>Anmeldung</vt:lpstr>
      <vt:lpstr>Anmeldung</vt:lpstr>
      <vt:lpstr>Agenda</vt:lpstr>
      <vt:lpstr>Eure Fragen</vt:lpstr>
      <vt:lpstr>Eure Fragen</vt:lpstr>
      <vt:lpstr>Vielen Dank und bis bald!</vt:lpstr>
    </vt:vector>
  </TitlesOfParts>
  <Manager>Name</Manager>
  <Company>Kolpingwer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latzhalter für den Präsentationstitel</dc:title>
  <dc:creator>Name</dc:creator>
  <dc:description>Optimiert für die PowerPoint Version 2016</dc:description>
  <cp:lastModifiedBy>Steve W</cp:lastModifiedBy>
  <cp:revision>177</cp:revision>
  <dcterms:created xsi:type="dcterms:W3CDTF">2020-03-06T13:17:16Z</dcterms:created>
  <dcterms:modified xsi:type="dcterms:W3CDTF">2023-01-23T18:56:15Z</dcterms:modified>
</cp:coreProperties>
</file>